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Lst>
  <p:sldIdLst>
    <p:sldId id="1043" r:id="rId4"/>
    <p:sldId id="256" r:id="rId5"/>
    <p:sldId id="1044" r:id="rId6"/>
    <p:sldId id="1045" r:id="rId7"/>
    <p:sldId id="1046" r:id="rId8"/>
    <p:sldId id="2147373557"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6A243F-191A-4275-896B-4E3E62D2ECDB}" v="31" dt="2023-09-19T09:13:54.9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ish, Nitin" userId="f2ecb18b-41e0-4ce1-8908-feb500df1510" providerId="ADAL" clId="{676A243F-191A-4275-896B-4E3E62D2ECDB}"/>
    <pc:docChg chg="undo redo custSel addSld delSld modSld sldOrd">
      <pc:chgData name="Satish, Nitin" userId="f2ecb18b-41e0-4ce1-8908-feb500df1510" providerId="ADAL" clId="{676A243F-191A-4275-896B-4E3E62D2ECDB}" dt="2023-09-19T09:13:56.653" v="1522" actId="47"/>
      <pc:docMkLst>
        <pc:docMk/>
      </pc:docMkLst>
      <pc:sldChg chg="addSp delSp modSp new mod setBg">
        <pc:chgData name="Satish, Nitin" userId="f2ecb18b-41e0-4ce1-8908-feb500df1510" providerId="ADAL" clId="{676A243F-191A-4275-896B-4E3E62D2ECDB}" dt="2023-09-19T08:42:10.164" v="953" actId="20577"/>
        <pc:sldMkLst>
          <pc:docMk/>
          <pc:sldMk cId="1272581373" sldId="256"/>
        </pc:sldMkLst>
        <pc:spChg chg="del">
          <ac:chgData name="Satish, Nitin" userId="f2ecb18b-41e0-4ce1-8908-feb500df1510" providerId="ADAL" clId="{676A243F-191A-4275-896B-4E3E62D2ECDB}" dt="2023-09-19T06:13:48.240" v="6" actId="478"/>
          <ac:spMkLst>
            <pc:docMk/>
            <pc:sldMk cId="1272581373" sldId="256"/>
            <ac:spMk id="2" creationId="{23365E9B-70E2-0472-6E1C-8B824D370673}"/>
          </ac:spMkLst>
        </pc:spChg>
        <pc:spChg chg="del">
          <ac:chgData name="Satish, Nitin" userId="f2ecb18b-41e0-4ce1-8908-feb500df1510" providerId="ADAL" clId="{676A243F-191A-4275-896B-4E3E62D2ECDB}" dt="2023-09-19T06:13:51.592" v="7" actId="478"/>
          <ac:spMkLst>
            <pc:docMk/>
            <pc:sldMk cId="1272581373" sldId="256"/>
            <ac:spMk id="3" creationId="{881AF2EB-0F71-9478-8F56-C261EE575468}"/>
          </ac:spMkLst>
        </pc:spChg>
        <pc:spChg chg="add mod">
          <ac:chgData name="Satish, Nitin" userId="f2ecb18b-41e0-4ce1-8908-feb500df1510" providerId="ADAL" clId="{676A243F-191A-4275-896B-4E3E62D2ECDB}" dt="2023-09-19T06:31:48.817" v="70" actId="14100"/>
          <ac:spMkLst>
            <pc:docMk/>
            <pc:sldMk cId="1272581373" sldId="256"/>
            <ac:spMk id="6" creationId="{113CB2A9-FE47-8399-BE4B-A245AA4F5915}"/>
          </ac:spMkLst>
        </pc:spChg>
        <pc:spChg chg="add mod ord">
          <ac:chgData name="Satish, Nitin" userId="f2ecb18b-41e0-4ce1-8908-feb500df1510" providerId="ADAL" clId="{676A243F-191A-4275-896B-4E3E62D2ECDB}" dt="2023-09-19T08:42:10.164" v="953" actId="20577"/>
          <ac:spMkLst>
            <pc:docMk/>
            <pc:sldMk cId="1272581373" sldId="256"/>
            <ac:spMk id="7" creationId="{254E54D7-F589-0A42-D88B-8C44D9721A3E}"/>
          </ac:spMkLst>
        </pc:spChg>
        <pc:spChg chg="add del">
          <ac:chgData name="Satish, Nitin" userId="f2ecb18b-41e0-4ce1-8908-feb500df1510" providerId="ADAL" clId="{676A243F-191A-4275-896B-4E3E62D2ECDB}" dt="2023-09-19T06:30:47.718" v="62" actId="26606"/>
          <ac:spMkLst>
            <pc:docMk/>
            <pc:sldMk cId="1272581373" sldId="256"/>
            <ac:spMk id="14" creationId="{D2B783EE-0239-4717-BBEA-8C9EAC61C824}"/>
          </ac:spMkLst>
        </pc:spChg>
        <pc:spChg chg="add del">
          <ac:chgData name="Satish, Nitin" userId="f2ecb18b-41e0-4ce1-8908-feb500df1510" providerId="ADAL" clId="{676A243F-191A-4275-896B-4E3E62D2ECDB}" dt="2023-09-19T06:30:47.718" v="62" actId="26606"/>
          <ac:spMkLst>
            <pc:docMk/>
            <pc:sldMk cId="1272581373" sldId="256"/>
            <ac:spMk id="16" creationId="{A7B99495-F43F-4D80-A44F-2CB4764EB90B}"/>
          </ac:spMkLst>
        </pc:spChg>
        <pc:spChg chg="add del">
          <ac:chgData name="Satish, Nitin" userId="f2ecb18b-41e0-4ce1-8908-feb500df1510" providerId="ADAL" clId="{676A243F-191A-4275-896B-4E3E62D2ECDB}" dt="2023-09-19T06:30:47.718" v="62" actId="26606"/>
          <ac:spMkLst>
            <pc:docMk/>
            <pc:sldMk cId="1272581373" sldId="256"/>
            <ac:spMk id="18" creationId="{70BEB1E7-2F88-40BC-B73D-42E5B6F80BFC}"/>
          </ac:spMkLst>
        </pc:spChg>
        <pc:spChg chg="add">
          <ac:chgData name="Satish, Nitin" userId="f2ecb18b-41e0-4ce1-8908-feb500df1510" providerId="ADAL" clId="{676A243F-191A-4275-896B-4E3E62D2ECDB}" dt="2023-09-19T06:30:47.718" v="62" actId="26606"/>
          <ac:spMkLst>
            <pc:docMk/>
            <pc:sldMk cId="1272581373" sldId="256"/>
            <ac:spMk id="23" creationId="{327D73B4-9F5C-4A64-A179-51B9500CB8B5}"/>
          </ac:spMkLst>
        </pc:spChg>
        <pc:spChg chg="add">
          <ac:chgData name="Satish, Nitin" userId="f2ecb18b-41e0-4ce1-8908-feb500df1510" providerId="ADAL" clId="{676A243F-191A-4275-896B-4E3E62D2ECDB}" dt="2023-09-19T06:30:47.718" v="62" actId="26606"/>
          <ac:spMkLst>
            <pc:docMk/>
            <pc:sldMk cId="1272581373" sldId="256"/>
            <ac:spMk id="29" creationId="{AB673405-BF85-493E-8558-0DCBEDB2BB49}"/>
          </ac:spMkLst>
        </pc:spChg>
        <pc:spChg chg="add">
          <ac:chgData name="Satish, Nitin" userId="f2ecb18b-41e0-4ce1-8908-feb500df1510" providerId="ADAL" clId="{676A243F-191A-4275-896B-4E3E62D2ECDB}" dt="2023-09-19T06:30:47.718" v="62" actId="26606"/>
          <ac:spMkLst>
            <pc:docMk/>
            <pc:sldMk cId="1272581373" sldId="256"/>
            <ac:spMk id="31" creationId="{C64EAE84-A813-4501-BC71-DBD14BA0265E}"/>
          </ac:spMkLst>
        </pc:spChg>
        <pc:spChg chg="add">
          <ac:chgData name="Satish, Nitin" userId="f2ecb18b-41e0-4ce1-8908-feb500df1510" providerId="ADAL" clId="{676A243F-191A-4275-896B-4E3E62D2ECDB}" dt="2023-09-19T06:30:47.718" v="62" actId="26606"/>
          <ac:spMkLst>
            <pc:docMk/>
            <pc:sldMk cId="1272581373" sldId="256"/>
            <ac:spMk id="33" creationId="{E3020543-B24B-4EC4-8FFC-8DD88EEA91A8}"/>
          </ac:spMkLst>
        </pc:spChg>
        <pc:grpChg chg="add">
          <ac:chgData name="Satish, Nitin" userId="f2ecb18b-41e0-4ce1-8908-feb500df1510" providerId="ADAL" clId="{676A243F-191A-4275-896B-4E3E62D2ECDB}" dt="2023-09-19T06:30:47.718" v="62" actId="26606"/>
          <ac:grpSpMkLst>
            <pc:docMk/>
            <pc:sldMk cId="1272581373" sldId="256"/>
            <ac:grpSpMk id="25" creationId="{05BBA018-FA75-43BF-99E6-1F5245727D29}"/>
          </ac:grpSpMkLst>
        </pc:grpChg>
        <pc:picChg chg="add mod ord">
          <ac:chgData name="Satish, Nitin" userId="f2ecb18b-41e0-4ce1-8908-feb500df1510" providerId="ADAL" clId="{676A243F-191A-4275-896B-4E3E62D2ECDB}" dt="2023-09-19T06:30:47.718" v="62" actId="26606"/>
          <ac:picMkLst>
            <pc:docMk/>
            <pc:sldMk cId="1272581373" sldId="256"/>
            <ac:picMk id="5" creationId="{DD53318B-01F6-481F-744F-956730825CC9}"/>
          </ac:picMkLst>
        </pc:picChg>
        <pc:picChg chg="add del mod">
          <ac:chgData name="Satish, Nitin" userId="f2ecb18b-41e0-4ce1-8908-feb500df1510" providerId="ADAL" clId="{676A243F-191A-4275-896B-4E3E62D2ECDB}" dt="2023-09-19T06:33:31.686" v="76" actId="478"/>
          <ac:picMkLst>
            <pc:docMk/>
            <pc:sldMk cId="1272581373" sldId="256"/>
            <ac:picMk id="9" creationId="{4161E448-4134-34EB-4E85-E42E7A718482}"/>
          </ac:picMkLst>
        </pc:picChg>
        <pc:picChg chg="add del mod">
          <ac:chgData name="Satish, Nitin" userId="f2ecb18b-41e0-4ce1-8908-feb500df1510" providerId="ADAL" clId="{676A243F-191A-4275-896B-4E3E62D2ECDB}" dt="2023-09-19T06:34:02.145" v="85" actId="478"/>
          <ac:picMkLst>
            <pc:docMk/>
            <pc:sldMk cId="1272581373" sldId="256"/>
            <ac:picMk id="11" creationId="{35956A17-E050-29FA-F107-BB71E4E0329E}"/>
          </ac:picMkLst>
        </pc:picChg>
        <pc:picChg chg="add mod">
          <ac:chgData name="Satish, Nitin" userId="f2ecb18b-41e0-4ce1-8908-feb500df1510" providerId="ADAL" clId="{676A243F-191A-4275-896B-4E3E62D2ECDB}" dt="2023-09-19T06:35:20.432" v="95" actId="1076"/>
          <ac:picMkLst>
            <pc:docMk/>
            <pc:sldMk cId="1272581373" sldId="256"/>
            <ac:picMk id="13" creationId="{9B8D46AC-6FBC-A7FA-28BA-4504EC420094}"/>
          </ac:picMkLst>
        </pc:picChg>
        <pc:cxnChg chg="add">
          <ac:chgData name="Satish, Nitin" userId="f2ecb18b-41e0-4ce1-8908-feb500df1510" providerId="ADAL" clId="{676A243F-191A-4275-896B-4E3E62D2ECDB}" dt="2023-09-19T06:30:47.718" v="62" actId="26606"/>
          <ac:cxnSpMkLst>
            <pc:docMk/>
            <pc:sldMk cId="1272581373" sldId="256"/>
            <ac:cxnSpMk id="35" creationId="{C49DA8F6-BCC1-4447-B54C-57856834B94B}"/>
          </ac:cxnSpMkLst>
        </pc:cxnChg>
      </pc:sldChg>
      <pc:sldChg chg="modSp add del mod ord setBg">
        <pc:chgData name="Satish, Nitin" userId="f2ecb18b-41e0-4ce1-8908-feb500df1510" providerId="ADAL" clId="{676A243F-191A-4275-896B-4E3E62D2ECDB}" dt="2023-09-19T09:03:07.010" v="1388" actId="1076"/>
        <pc:sldMkLst>
          <pc:docMk/>
          <pc:sldMk cId="967426923" sldId="1043"/>
        </pc:sldMkLst>
        <pc:spChg chg="mod">
          <ac:chgData name="Satish, Nitin" userId="f2ecb18b-41e0-4ce1-8908-feb500df1510" providerId="ADAL" clId="{676A243F-191A-4275-896B-4E3E62D2ECDB}" dt="2023-09-19T09:02:49.384" v="1383" actId="20577"/>
          <ac:spMkLst>
            <pc:docMk/>
            <pc:sldMk cId="967426923" sldId="1043"/>
            <ac:spMk id="2" creationId="{F1DFDA52-C0F0-45D2-A8E6-81F969C00184}"/>
          </ac:spMkLst>
        </pc:spChg>
        <pc:spChg chg="mod">
          <ac:chgData name="Satish, Nitin" userId="f2ecb18b-41e0-4ce1-8908-feb500df1510" providerId="ADAL" clId="{676A243F-191A-4275-896B-4E3E62D2ECDB}" dt="2023-09-19T09:02:55.571" v="1384" actId="1076"/>
          <ac:spMkLst>
            <pc:docMk/>
            <pc:sldMk cId="967426923" sldId="1043"/>
            <ac:spMk id="3" creationId="{C848BA6D-2927-44B8-ACA6-7A2F73E5B792}"/>
          </ac:spMkLst>
        </pc:spChg>
        <pc:picChg chg="mod">
          <ac:chgData name="Satish, Nitin" userId="f2ecb18b-41e0-4ce1-8908-feb500df1510" providerId="ADAL" clId="{676A243F-191A-4275-896B-4E3E62D2ECDB}" dt="2023-09-19T09:03:04.095" v="1387" actId="1076"/>
          <ac:picMkLst>
            <pc:docMk/>
            <pc:sldMk cId="967426923" sldId="1043"/>
            <ac:picMk id="6" creationId="{93919490-E65A-17A1-7BEC-B2F30A57D5D4}"/>
          </ac:picMkLst>
        </pc:picChg>
        <pc:picChg chg="mod">
          <ac:chgData name="Satish, Nitin" userId="f2ecb18b-41e0-4ce1-8908-feb500df1510" providerId="ADAL" clId="{676A243F-191A-4275-896B-4E3E62D2ECDB}" dt="2023-09-19T09:03:07.010" v="1388" actId="1076"/>
          <ac:picMkLst>
            <pc:docMk/>
            <pc:sldMk cId="967426923" sldId="1043"/>
            <ac:picMk id="7" creationId="{E10CD153-2F78-4A45-AD46-5BF67DE59CC7}"/>
          </ac:picMkLst>
        </pc:picChg>
      </pc:sldChg>
      <pc:sldChg chg="addSp delSp modSp new mod setBg">
        <pc:chgData name="Satish, Nitin" userId="f2ecb18b-41e0-4ce1-8908-feb500df1510" providerId="ADAL" clId="{676A243F-191A-4275-896B-4E3E62D2ECDB}" dt="2023-09-19T08:31:35.604" v="758" actId="20577"/>
        <pc:sldMkLst>
          <pc:docMk/>
          <pc:sldMk cId="2425590415" sldId="1044"/>
        </pc:sldMkLst>
        <pc:spChg chg="del">
          <ac:chgData name="Satish, Nitin" userId="f2ecb18b-41e0-4ce1-8908-feb500df1510" providerId="ADAL" clId="{676A243F-191A-4275-896B-4E3E62D2ECDB}" dt="2023-09-19T06:35:56.682" v="98" actId="478"/>
          <ac:spMkLst>
            <pc:docMk/>
            <pc:sldMk cId="2425590415" sldId="1044"/>
            <ac:spMk id="2" creationId="{61960FD9-51A3-2CB8-1A12-2765ADC75CF5}"/>
          </ac:spMkLst>
        </pc:spChg>
        <pc:spChg chg="del">
          <ac:chgData name="Satish, Nitin" userId="f2ecb18b-41e0-4ce1-8908-feb500df1510" providerId="ADAL" clId="{676A243F-191A-4275-896B-4E3E62D2ECDB}" dt="2023-09-19T06:36:01.586" v="99" actId="478"/>
          <ac:spMkLst>
            <pc:docMk/>
            <pc:sldMk cId="2425590415" sldId="1044"/>
            <ac:spMk id="3" creationId="{F6DB9FE9-BBDE-558C-13CD-5C6FE3B6FFF2}"/>
          </ac:spMkLst>
        </pc:spChg>
        <pc:spChg chg="add mod">
          <ac:chgData name="Satish, Nitin" userId="f2ecb18b-41e0-4ce1-8908-feb500df1510" providerId="ADAL" clId="{676A243F-191A-4275-896B-4E3E62D2ECDB}" dt="2023-09-19T08:31:35.604" v="758" actId="20577"/>
          <ac:spMkLst>
            <pc:docMk/>
            <pc:sldMk cId="2425590415" sldId="1044"/>
            <ac:spMk id="4" creationId="{CF261CD3-2636-494A-BB67-E6E795052474}"/>
          </ac:spMkLst>
        </pc:spChg>
        <pc:spChg chg="add mod ord">
          <ac:chgData name="Satish, Nitin" userId="f2ecb18b-41e0-4ce1-8908-feb500df1510" providerId="ADAL" clId="{676A243F-191A-4275-896B-4E3E62D2ECDB}" dt="2023-09-19T08:18:32.813" v="441" actId="1076"/>
          <ac:spMkLst>
            <pc:docMk/>
            <pc:sldMk cId="2425590415" sldId="1044"/>
            <ac:spMk id="5" creationId="{0EDE989F-AEEA-1F60-795E-38039AD495B5}"/>
          </ac:spMkLst>
        </pc:spChg>
        <pc:spChg chg="add">
          <ac:chgData name="Satish, Nitin" userId="f2ecb18b-41e0-4ce1-8908-feb500df1510" providerId="ADAL" clId="{676A243F-191A-4275-896B-4E3E62D2ECDB}" dt="2023-09-19T07:18:29.950" v="275" actId="26606"/>
          <ac:spMkLst>
            <pc:docMk/>
            <pc:sldMk cId="2425590415" sldId="1044"/>
            <ac:spMk id="12" creationId="{2EB492CD-616E-47F8-933B-5E2D952A0593}"/>
          </ac:spMkLst>
        </pc:spChg>
        <pc:spChg chg="add mod">
          <ac:chgData name="Satish, Nitin" userId="f2ecb18b-41e0-4ce1-8908-feb500df1510" providerId="ADAL" clId="{676A243F-191A-4275-896B-4E3E62D2ECDB}" dt="2023-09-19T08:21:27.922" v="693" actId="1582"/>
          <ac:spMkLst>
            <pc:docMk/>
            <pc:sldMk cId="2425590415" sldId="1044"/>
            <ac:spMk id="13" creationId="{986963C6-09F2-20DF-8B27-1860E9D35F16}"/>
          </ac:spMkLst>
        </pc:spChg>
        <pc:spChg chg="add">
          <ac:chgData name="Satish, Nitin" userId="f2ecb18b-41e0-4ce1-8908-feb500df1510" providerId="ADAL" clId="{676A243F-191A-4275-896B-4E3E62D2ECDB}" dt="2023-09-19T07:18:29.950" v="275" actId="26606"/>
          <ac:spMkLst>
            <pc:docMk/>
            <pc:sldMk cId="2425590415" sldId="1044"/>
            <ac:spMk id="14" creationId="{59383CF9-23B5-4335-9B21-1791C4CF1C75}"/>
          </ac:spMkLst>
        </pc:spChg>
        <pc:spChg chg="add">
          <ac:chgData name="Satish, Nitin" userId="f2ecb18b-41e0-4ce1-8908-feb500df1510" providerId="ADAL" clId="{676A243F-191A-4275-896B-4E3E62D2ECDB}" dt="2023-09-19T07:18:29.950" v="275" actId="26606"/>
          <ac:spMkLst>
            <pc:docMk/>
            <pc:sldMk cId="2425590415" sldId="1044"/>
            <ac:spMk id="16" creationId="{0007FE00-9498-4706-B255-6437B0252C02}"/>
          </ac:spMkLst>
        </pc:spChg>
        <pc:spChg chg="add del">
          <ac:chgData name="Satish, Nitin" userId="f2ecb18b-41e0-4ce1-8908-feb500df1510" providerId="ADAL" clId="{676A243F-191A-4275-896B-4E3E62D2ECDB}" dt="2023-09-19T08:26:54.388" v="700" actId="22"/>
          <ac:spMkLst>
            <pc:docMk/>
            <pc:sldMk cId="2425590415" sldId="1044"/>
            <ac:spMk id="17" creationId="{0A993DC5-3701-2EC4-5F65-422F6DA19358}"/>
          </ac:spMkLst>
        </pc:spChg>
        <pc:picChg chg="add mod">
          <ac:chgData name="Satish, Nitin" userId="f2ecb18b-41e0-4ce1-8908-feb500df1510" providerId="ADAL" clId="{676A243F-191A-4275-896B-4E3E62D2ECDB}" dt="2023-09-19T08:31:16.557" v="723" actId="1076"/>
          <ac:picMkLst>
            <pc:docMk/>
            <pc:sldMk cId="2425590415" sldId="1044"/>
            <ac:picMk id="7" creationId="{289FEEB0-2618-E3FB-FDAE-4BD8052DC15D}"/>
          </ac:picMkLst>
        </pc:picChg>
        <pc:picChg chg="add mod">
          <ac:chgData name="Satish, Nitin" userId="f2ecb18b-41e0-4ce1-8908-feb500df1510" providerId="ADAL" clId="{676A243F-191A-4275-896B-4E3E62D2ECDB}" dt="2023-09-19T08:29:59.689" v="708" actId="1076"/>
          <ac:picMkLst>
            <pc:docMk/>
            <pc:sldMk cId="2425590415" sldId="1044"/>
            <ac:picMk id="9" creationId="{261A708D-B4F6-B099-B995-3EA6CB9878D7}"/>
          </ac:picMkLst>
        </pc:picChg>
        <pc:picChg chg="add del mod">
          <ac:chgData name="Satish, Nitin" userId="f2ecb18b-41e0-4ce1-8908-feb500df1510" providerId="ADAL" clId="{676A243F-191A-4275-896B-4E3E62D2ECDB}" dt="2023-09-19T08:20:36.365" v="691" actId="478"/>
          <ac:picMkLst>
            <pc:docMk/>
            <pc:sldMk cId="2425590415" sldId="1044"/>
            <ac:picMk id="11" creationId="{B4ECC682-DEF9-D835-A2C3-01E7DA29878E}"/>
          </ac:picMkLst>
        </pc:picChg>
      </pc:sldChg>
      <pc:sldChg chg="addSp delSp add del setBg delDesignElem">
        <pc:chgData name="Satish, Nitin" userId="f2ecb18b-41e0-4ce1-8908-feb500df1510" providerId="ADAL" clId="{676A243F-191A-4275-896B-4E3E62D2ECDB}" dt="2023-09-19T08:27:01.926" v="703"/>
        <pc:sldMkLst>
          <pc:docMk/>
          <pc:sldMk cId="1478640875" sldId="1045"/>
        </pc:sldMkLst>
        <pc:spChg chg="add del">
          <ac:chgData name="Satish, Nitin" userId="f2ecb18b-41e0-4ce1-8908-feb500df1510" providerId="ADAL" clId="{676A243F-191A-4275-896B-4E3E62D2ECDB}" dt="2023-09-19T08:27:01.926" v="703"/>
          <ac:spMkLst>
            <pc:docMk/>
            <pc:sldMk cId="1478640875" sldId="1045"/>
            <ac:spMk id="12" creationId="{2EB492CD-616E-47F8-933B-5E2D952A0593}"/>
          </ac:spMkLst>
        </pc:spChg>
        <pc:spChg chg="add del">
          <ac:chgData name="Satish, Nitin" userId="f2ecb18b-41e0-4ce1-8908-feb500df1510" providerId="ADAL" clId="{676A243F-191A-4275-896B-4E3E62D2ECDB}" dt="2023-09-19T08:27:01.926" v="703"/>
          <ac:spMkLst>
            <pc:docMk/>
            <pc:sldMk cId="1478640875" sldId="1045"/>
            <ac:spMk id="14" creationId="{59383CF9-23B5-4335-9B21-1791C4CF1C75}"/>
          </ac:spMkLst>
        </pc:spChg>
        <pc:spChg chg="add del">
          <ac:chgData name="Satish, Nitin" userId="f2ecb18b-41e0-4ce1-8908-feb500df1510" providerId="ADAL" clId="{676A243F-191A-4275-896B-4E3E62D2ECDB}" dt="2023-09-19T08:27:01.926" v="703"/>
          <ac:spMkLst>
            <pc:docMk/>
            <pc:sldMk cId="1478640875" sldId="1045"/>
            <ac:spMk id="16" creationId="{0007FE00-9498-4706-B255-6437B0252C02}"/>
          </ac:spMkLst>
        </pc:spChg>
      </pc:sldChg>
      <pc:sldChg chg="addSp delSp modSp add mod">
        <pc:chgData name="Satish, Nitin" userId="f2ecb18b-41e0-4ce1-8908-feb500df1510" providerId="ADAL" clId="{676A243F-191A-4275-896B-4E3E62D2ECDB}" dt="2023-09-19T09:04:59.441" v="1414" actId="20577"/>
        <pc:sldMkLst>
          <pc:docMk/>
          <pc:sldMk cId="2015286407" sldId="1045"/>
        </pc:sldMkLst>
        <pc:spChg chg="mod">
          <ac:chgData name="Satish, Nitin" userId="f2ecb18b-41e0-4ce1-8908-feb500df1510" providerId="ADAL" clId="{676A243F-191A-4275-896B-4E3E62D2ECDB}" dt="2023-09-19T09:04:59.441" v="1414" actId="20577"/>
          <ac:spMkLst>
            <pc:docMk/>
            <pc:sldMk cId="2015286407" sldId="1045"/>
            <ac:spMk id="4" creationId="{CF261CD3-2636-494A-BB67-E6E795052474}"/>
          </ac:spMkLst>
        </pc:spChg>
        <pc:spChg chg="mod">
          <ac:chgData name="Satish, Nitin" userId="f2ecb18b-41e0-4ce1-8908-feb500df1510" providerId="ADAL" clId="{676A243F-191A-4275-896B-4E3E62D2ECDB}" dt="2023-09-19T09:00:18.873" v="1345" actId="1076"/>
          <ac:spMkLst>
            <pc:docMk/>
            <pc:sldMk cId="2015286407" sldId="1045"/>
            <ac:spMk id="5" creationId="{0EDE989F-AEEA-1F60-795E-38039AD495B5}"/>
          </ac:spMkLst>
        </pc:spChg>
        <pc:spChg chg="del">
          <ac:chgData name="Satish, Nitin" userId="f2ecb18b-41e0-4ce1-8908-feb500df1510" providerId="ADAL" clId="{676A243F-191A-4275-896B-4E3E62D2ECDB}" dt="2023-09-19T08:32:32.909" v="761" actId="478"/>
          <ac:spMkLst>
            <pc:docMk/>
            <pc:sldMk cId="2015286407" sldId="1045"/>
            <ac:spMk id="13" creationId="{986963C6-09F2-20DF-8B27-1860E9D35F16}"/>
          </ac:spMkLst>
        </pc:spChg>
        <pc:spChg chg="add mod">
          <ac:chgData name="Satish, Nitin" userId="f2ecb18b-41e0-4ce1-8908-feb500df1510" providerId="ADAL" clId="{676A243F-191A-4275-896B-4E3E62D2ECDB}" dt="2023-09-19T09:01:50.284" v="1351" actId="1076"/>
          <ac:spMkLst>
            <pc:docMk/>
            <pc:sldMk cId="2015286407" sldId="1045"/>
            <ac:spMk id="15" creationId="{B6022F78-5AFD-E09C-3CF1-4E80A02DF715}"/>
          </ac:spMkLst>
        </pc:spChg>
        <pc:spChg chg="add del mod">
          <ac:chgData name="Satish, Nitin" userId="f2ecb18b-41e0-4ce1-8908-feb500df1510" providerId="ADAL" clId="{676A243F-191A-4275-896B-4E3E62D2ECDB}" dt="2023-09-19T08:55:01.640" v="1216" actId="478"/>
          <ac:spMkLst>
            <pc:docMk/>
            <pc:sldMk cId="2015286407" sldId="1045"/>
            <ac:spMk id="17" creationId="{15A02365-B0D9-D78B-4A4B-6AAA7627C541}"/>
          </ac:spMkLst>
        </pc:spChg>
        <pc:spChg chg="add mod">
          <ac:chgData name="Satish, Nitin" userId="f2ecb18b-41e0-4ce1-8908-feb500df1510" providerId="ADAL" clId="{676A243F-191A-4275-896B-4E3E62D2ECDB}" dt="2023-09-19T08:57:52.640" v="1254" actId="113"/>
          <ac:spMkLst>
            <pc:docMk/>
            <pc:sldMk cId="2015286407" sldId="1045"/>
            <ac:spMk id="18" creationId="{EE027DA1-3495-2461-F53F-2DD8AB923F6B}"/>
          </ac:spMkLst>
        </pc:spChg>
        <pc:picChg chg="add mod">
          <ac:chgData name="Satish, Nitin" userId="f2ecb18b-41e0-4ce1-8908-feb500df1510" providerId="ADAL" clId="{676A243F-191A-4275-896B-4E3E62D2ECDB}" dt="2023-09-19T08:58:10.711" v="1255" actId="1076"/>
          <ac:picMkLst>
            <pc:docMk/>
            <pc:sldMk cId="2015286407" sldId="1045"/>
            <ac:picMk id="3" creationId="{59DECD89-0A30-242B-C95F-43F7E772A576}"/>
          </ac:picMkLst>
        </pc:picChg>
        <pc:picChg chg="del mod">
          <ac:chgData name="Satish, Nitin" userId="f2ecb18b-41e0-4ce1-8908-feb500df1510" providerId="ADAL" clId="{676A243F-191A-4275-896B-4E3E62D2ECDB}" dt="2023-09-19T08:32:26.946" v="759" actId="478"/>
          <ac:picMkLst>
            <pc:docMk/>
            <pc:sldMk cId="2015286407" sldId="1045"/>
            <ac:picMk id="7" creationId="{289FEEB0-2618-E3FB-FDAE-4BD8052DC15D}"/>
          </ac:picMkLst>
        </pc:picChg>
        <pc:picChg chg="add mod">
          <ac:chgData name="Satish, Nitin" userId="f2ecb18b-41e0-4ce1-8908-feb500df1510" providerId="ADAL" clId="{676A243F-191A-4275-896B-4E3E62D2ECDB}" dt="2023-09-19T08:57:26.226" v="1249" actId="1076"/>
          <ac:picMkLst>
            <pc:docMk/>
            <pc:sldMk cId="2015286407" sldId="1045"/>
            <ac:picMk id="8" creationId="{F480113F-EFD6-63F6-7061-0456E6543EC4}"/>
          </ac:picMkLst>
        </pc:picChg>
        <pc:picChg chg="del mod">
          <ac:chgData name="Satish, Nitin" userId="f2ecb18b-41e0-4ce1-8908-feb500df1510" providerId="ADAL" clId="{676A243F-191A-4275-896B-4E3E62D2ECDB}" dt="2023-09-19T08:32:29.105" v="760" actId="478"/>
          <ac:picMkLst>
            <pc:docMk/>
            <pc:sldMk cId="2015286407" sldId="1045"/>
            <ac:picMk id="9" creationId="{261A708D-B4F6-B099-B995-3EA6CB9878D7}"/>
          </ac:picMkLst>
        </pc:picChg>
        <pc:picChg chg="add mod">
          <ac:chgData name="Satish, Nitin" userId="f2ecb18b-41e0-4ce1-8908-feb500df1510" providerId="ADAL" clId="{676A243F-191A-4275-896B-4E3E62D2ECDB}" dt="2023-09-19T09:01:44.479" v="1350" actId="1076"/>
          <ac:picMkLst>
            <pc:docMk/>
            <pc:sldMk cId="2015286407" sldId="1045"/>
            <ac:picMk id="11" creationId="{815EB49F-D0D5-B92B-3E37-98B6D38C1BEF}"/>
          </ac:picMkLst>
        </pc:picChg>
      </pc:sldChg>
      <pc:sldChg chg="addSp delSp add del setBg delDesignElem">
        <pc:chgData name="Satish, Nitin" userId="f2ecb18b-41e0-4ce1-8908-feb500df1510" providerId="ADAL" clId="{676A243F-191A-4275-896B-4E3E62D2ECDB}" dt="2023-09-19T09:04:05.773" v="1391"/>
        <pc:sldMkLst>
          <pc:docMk/>
          <pc:sldMk cId="2352060058" sldId="1046"/>
        </pc:sldMkLst>
        <pc:spChg chg="add del">
          <ac:chgData name="Satish, Nitin" userId="f2ecb18b-41e0-4ce1-8908-feb500df1510" providerId="ADAL" clId="{676A243F-191A-4275-896B-4E3E62D2ECDB}" dt="2023-09-19T09:04:05.773" v="1391"/>
          <ac:spMkLst>
            <pc:docMk/>
            <pc:sldMk cId="2352060058" sldId="1046"/>
            <ac:spMk id="12" creationId="{2EB492CD-616E-47F8-933B-5E2D952A0593}"/>
          </ac:spMkLst>
        </pc:spChg>
        <pc:spChg chg="add del">
          <ac:chgData name="Satish, Nitin" userId="f2ecb18b-41e0-4ce1-8908-feb500df1510" providerId="ADAL" clId="{676A243F-191A-4275-896B-4E3E62D2ECDB}" dt="2023-09-19T09:04:05.773" v="1391"/>
          <ac:spMkLst>
            <pc:docMk/>
            <pc:sldMk cId="2352060058" sldId="1046"/>
            <ac:spMk id="14" creationId="{59383CF9-23B5-4335-9B21-1791C4CF1C75}"/>
          </ac:spMkLst>
        </pc:spChg>
        <pc:spChg chg="add del">
          <ac:chgData name="Satish, Nitin" userId="f2ecb18b-41e0-4ce1-8908-feb500df1510" providerId="ADAL" clId="{676A243F-191A-4275-896B-4E3E62D2ECDB}" dt="2023-09-19T09:04:05.773" v="1391"/>
          <ac:spMkLst>
            <pc:docMk/>
            <pc:sldMk cId="2352060058" sldId="1046"/>
            <ac:spMk id="16" creationId="{0007FE00-9498-4706-B255-6437B0252C02}"/>
          </ac:spMkLst>
        </pc:spChg>
      </pc:sldChg>
      <pc:sldChg chg="addSp delSp modSp add mod">
        <pc:chgData name="Satish, Nitin" userId="f2ecb18b-41e0-4ce1-8908-feb500df1510" providerId="ADAL" clId="{676A243F-191A-4275-896B-4E3E62D2ECDB}" dt="2023-09-19T09:11:44.725" v="1517" actId="20577"/>
        <pc:sldMkLst>
          <pc:docMk/>
          <pc:sldMk cId="3582446597" sldId="1046"/>
        </pc:sldMkLst>
        <pc:spChg chg="mod">
          <ac:chgData name="Satish, Nitin" userId="f2ecb18b-41e0-4ce1-8908-feb500df1510" providerId="ADAL" clId="{676A243F-191A-4275-896B-4E3E62D2ECDB}" dt="2023-09-19T09:04:54.968" v="1413" actId="20577"/>
          <ac:spMkLst>
            <pc:docMk/>
            <pc:sldMk cId="3582446597" sldId="1046"/>
            <ac:spMk id="4" creationId="{CF261CD3-2636-494A-BB67-E6E795052474}"/>
          </ac:spMkLst>
        </pc:spChg>
        <pc:spChg chg="del">
          <ac:chgData name="Satish, Nitin" userId="f2ecb18b-41e0-4ce1-8908-feb500df1510" providerId="ADAL" clId="{676A243F-191A-4275-896B-4E3E62D2ECDB}" dt="2023-09-19T09:06:34.509" v="1415" actId="478"/>
          <ac:spMkLst>
            <pc:docMk/>
            <pc:sldMk cId="3582446597" sldId="1046"/>
            <ac:spMk id="5" creationId="{0EDE989F-AEEA-1F60-795E-38039AD495B5}"/>
          </ac:spMkLst>
        </pc:spChg>
        <pc:spChg chg="del">
          <ac:chgData name="Satish, Nitin" userId="f2ecb18b-41e0-4ce1-8908-feb500df1510" providerId="ADAL" clId="{676A243F-191A-4275-896B-4E3E62D2ECDB}" dt="2023-09-19T09:06:42.736" v="1420" actId="478"/>
          <ac:spMkLst>
            <pc:docMk/>
            <pc:sldMk cId="3582446597" sldId="1046"/>
            <ac:spMk id="15" creationId="{B6022F78-5AFD-E09C-3CF1-4E80A02DF715}"/>
          </ac:spMkLst>
        </pc:spChg>
        <pc:spChg chg="add mod">
          <ac:chgData name="Satish, Nitin" userId="f2ecb18b-41e0-4ce1-8908-feb500df1510" providerId="ADAL" clId="{676A243F-191A-4275-896B-4E3E62D2ECDB}" dt="2023-09-19T09:10:44.156" v="1479" actId="113"/>
          <ac:spMkLst>
            <pc:docMk/>
            <pc:sldMk cId="3582446597" sldId="1046"/>
            <ac:spMk id="17" creationId="{BBF9279D-44F6-54D8-CC09-BF20831AEC24}"/>
          </ac:spMkLst>
        </pc:spChg>
        <pc:spChg chg="add mod">
          <ac:chgData name="Satish, Nitin" userId="f2ecb18b-41e0-4ce1-8908-feb500df1510" providerId="ADAL" clId="{676A243F-191A-4275-896B-4E3E62D2ECDB}" dt="2023-09-19T09:10:40.381" v="1478" actId="113"/>
          <ac:spMkLst>
            <pc:docMk/>
            <pc:sldMk cId="3582446597" sldId="1046"/>
            <ac:spMk id="19" creationId="{7FE37E4B-A216-A003-B0FC-6B5D968E8EB9}"/>
          </ac:spMkLst>
        </pc:spChg>
        <pc:spChg chg="add mod">
          <ac:chgData name="Satish, Nitin" userId="f2ecb18b-41e0-4ce1-8908-feb500df1510" providerId="ADAL" clId="{676A243F-191A-4275-896B-4E3E62D2ECDB}" dt="2023-09-19T09:11:44.725" v="1517" actId="20577"/>
          <ac:spMkLst>
            <pc:docMk/>
            <pc:sldMk cId="3582446597" sldId="1046"/>
            <ac:spMk id="20" creationId="{27AFE581-BA42-04BB-789B-0D3A957A9D04}"/>
          </ac:spMkLst>
        </pc:spChg>
        <pc:picChg chg="del">
          <ac:chgData name="Satish, Nitin" userId="f2ecb18b-41e0-4ce1-8908-feb500df1510" providerId="ADAL" clId="{676A243F-191A-4275-896B-4E3E62D2ECDB}" dt="2023-09-19T09:06:36.362" v="1416" actId="478"/>
          <ac:picMkLst>
            <pc:docMk/>
            <pc:sldMk cId="3582446597" sldId="1046"/>
            <ac:picMk id="3" creationId="{59DECD89-0A30-242B-C95F-43F7E772A576}"/>
          </ac:picMkLst>
        </pc:picChg>
        <pc:picChg chg="add mod">
          <ac:chgData name="Satish, Nitin" userId="f2ecb18b-41e0-4ce1-8908-feb500df1510" providerId="ADAL" clId="{676A243F-191A-4275-896B-4E3E62D2ECDB}" dt="2023-09-19T09:09:28.469" v="1430" actId="1076"/>
          <ac:picMkLst>
            <pc:docMk/>
            <pc:sldMk cId="3582446597" sldId="1046"/>
            <ac:picMk id="6" creationId="{F8C3D37F-A53F-B7EC-75EA-6A94967F09C1}"/>
          </ac:picMkLst>
        </pc:picChg>
        <pc:picChg chg="del">
          <ac:chgData name="Satish, Nitin" userId="f2ecb18b-41e0-4ce1-8908-feb500df1510" providerId="ADAL" clId="{676A243F-191A-4275-896B-4E3E62D2ECDB}" dt="2023-09-19T09:06:38.028" v="1417" actId="478"/>
          <ac:picMkLst>
            <pc:docMk/>
            <pc:sldMk cId="3582446597" sldId="1046"/>
            <ac:picMk id="8" creationId="{F480113F-EFD6-63F6-7061-0456E6543EC4}"/>
          </ac:picMkLst>
        </pc:picChg>
        <pc:picChg chg="add mod">
          <ac:chgData name="Satish, Nitin" userId="f2ecb18b-41e0-4ce1-8908-feb500df1510" providerId="ADAL" clId="{676A243F-191A-4275-896B-4E3E62D2ECDB}" dt="2023-09-19T09:08:15.534" v="1429" actId="1076"/>
          <ac:picMkLst>
            <pc:docMk/>
            <pc:sldMk cId="3582446597" sldId="1046"/>
            <ac:picMk id="9" creationId="{B6721F54-046C-CB5B-4B35-6A76A35638C2}"/>
          </ac:picMkLst>
        </pc:picChg>
        <pc:picChg chg="del mod">
          <ac:chgData name="Satish, Nitin" userId="f2ecb18b-41e0-4ce1-8908-feb500df1510" providerId="ADAL" clId="{676A243F-191A-4275-896B-4E3E62D2ECDB}" dt="2023-09-19T09:06:39.637" v="1419" actId="478"/>
          <ac:picMkLst>
            <pc:docMk/>
            <pc:sldMk cId="3582446597" sldId="1046"/>
            <ac:picMk id="11" creationId="{815EB49F-D0D5-B92B-3E37-98B6D38C1BEF}"/>
          </ac:picMkLst>
        </pc:picChg>
        <pc:picChg chg="add mod">
          <ac:chgData name="Satish, Nitin" userId="f2ecb18b-41e0-4ce1-8908-feb500df1510" providerId="ADAL" clId="{676A243F-191A-4275-896B-4E3E62D2ECDB}" dt="2023-09-19T09:10:52.070" v="1480" actId="1076"/>
          <ac:picMkLst>
            <pc:docMk/>
            <pc:sldMk cId="3582446597" sldId="1046"/>
            <ac:picMk id="13" creationId="{86AD1514-5518-85C6-631C-A94C9260123B}"/>
          </ac:picMkLst>
        </pc:picChg>
      </pc:sldChg>
      <pc:sldChg chg="new del">
        <pc:chgData name="Satish, Nitin" userId="f2ecb18b-41e0-4ce1-8908-feb500df1510" providerId="ADAL" clId="{676A243F-191A-4275-896B-4E3E62D2ECDB}" dt="2023-09-19T09:13:56.653" v="1522" actId="47"/>
        <pc:sldMkLst>
          <pc:docMk/>
          <pc:sldMk cId="177072402" sldId="1047"/>
        </pc:sldMkLst>
      </pc:sldChg>
      <pc:sldChg chg="addSp delSp add del setBg delDesignElem">
        <pc:chgData name="Satish, Nitin" userId="f2ecb18b-41e0-4ce1-8908-feb500df1510" providerId="ADAL" clId="{676A243F-191A-4275-896B-4E3E62D2ECDB}" dt="2023-09-19T09:04:15.875" v="1397"/>
        <pc:sldMkLst>
          <pc:docMk/>
          <pc:sldMk cId="2000922116" sldId="1047"/>
        </pc:sldMkLst>
        <pc:spChg chg="add del">
          <ac:chgData name="Satish, Nitin" userId="f2ecb18b-41e0-4ce1-8908-feb500df1510" providerId="ADAL" clId="{676A243F-191A-4275-896B-4E3E62D2ECDB}" dt="2023-09-19T09:04:15.875" v="1397"/>
          <ac:spMkLst>
            <pc:docMk/>
            <pc:sldMk cId="2000922116" sldId="1047"/>
            <ac:spMk id="12" creationId="{2EB492CD-616E-47F8-933B-5E2D952A0593}"/>
          </ac:spMkLst>
        </pc:spChg>
        <pc:spChg chg="add del">
          <ac:chgData name="Satish, Nitin" userId="f2ecb18b-41e0-4ce1-8908-feb500df1510" providerId="ADAL" clId="{676A243F-191A-4275-896B-4E3E62D2ECDB}" dt="2023-09-19T09:04:15.875" v="1397"/>
          <ac:spMkLst>
            <pc:docMk/>
            <pc:sldMk cId="2000922116" sldId="1047"/>
            <ac:spMk id="14" creationId="{59383CF9-23B5-4335-9B21-1791C4CF1C75}"/>
          </ac:spMkLst>
        </pc:spChg>
        <pc:spChg chg="add del">
          <ac:chgData name="Satish, Nitin" userId="f2ecb18b-41e0-4ce1-8908-feb500df1510" providerId="ADAL" clId="{676A243F-191A-4275-896B-4E3E62D2ECDB}" dt="2023-09-19T09:04:15.875" v="1397"/>
          <ac:spMkLst>
            <pc:docMk/>
            <pc:sldMk cId="2000922116" sldId="1047"/>
            <ac:spMk id="16" creationId="{0007FE00-9498-4706-B255-6437B0252C02}"/>
          </ac:spMkLst>
        </pc:spChg>
      </pc:sldChg>
      <pc:sldChg chg="add del">
        <pc:chgData name="Satish, Nitin" userId="f2ecb18b-41e0-4ce1-8908-feb500df1510" providerId="ADAL" clId="{676A243F-191A-4275-896B-4E3E62D2ECDB}" dt="2023-09-19T09:13:54.824" v="1521"/>
        <pc:sldMkLst>
          <pc:docMk/>
          <pc:sldMk cId="2261205970" sldId="2147373557"/>
        </pc:sldMkLst>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A97A1-9055-CE7B-1690-07666C4058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4EF6796-5029-9DE9-BC43-6E874B74F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88AC58-8AAD-E5F0-F897-BEDDA01EDF4A}"/>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EDBADE37-BCEE-811F-8519-EDD18A6A8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4EC9A6-8D30-8539-B41D-9E9A0C7B2168}"/>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360842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8CE22-41DA-2889-08D9-14B74E25697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E66C11-2E1D-CB8D-D184-BF9117DD37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9759F6-BA3B-6553-2F94-1A4928650151}"/>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E8BDA9B9-9FA2-9243-54A2-943D2C04D3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899E8E-AC15-BC96-3277-8C9027E909C6}"/>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2252389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E4A9DA-8509-CD7E-0EF5-C9C038D9C8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E477C3-5AA0-B2D2-CCF3-3925371226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44972B-DC15-4E96-7208-F2E00838F5DC}"/>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CB7754BD-ED3A-373D-E38F-50B0CB91B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9FC835-6C80-47D4-6E84-48757B6452E2}"/>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677834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8E66-A63C-5FED-9D82-9946AC8905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00EE9C-1747-A752-EA21-19D5F9BC46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70B19B-8C15-6540-121A-E99DDB591BED}"/>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3DC059C9-71BC-3722-D9B5-98131294B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E29767-7BE6-FB5A-31FE-53E73330E82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4250688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5DB46-90D5-F3D7-185C-6C67286AEA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7AB5B8-C65A-2D99-38B8-4EF65B08D1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3897AD-3490-B5E6-2D60-2E74D82A1205}"/>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5A952430-4433-D2C8-55EA-FA0F7A61CD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4E85F-0F83-A74A-0B2B-700800971C7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346197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DFE78-D2DC-8D28-2040-D72AE5B207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19039E-3D8E-E9C5-9B55-57F18E911D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64A70E-0071-6484-E726-14395A3A150C}"/>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3FC77B17-F908-3ACE-93DF-CF4CB5F447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D7BE53-1902-368E-EC30-451D6FC0B92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629236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58166-FBF0-8C7A-4C05-9B845F65DC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561173-870D-7DFA-7AA8-236075F6C5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307AB-7D72-083B-7628-6F18AD810BF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073898-E7D4-CC8D-33B3-C49CB235379E}"/>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6" name="Footer Placeholder 5">
            <a:extLst>
              <a:ext uri="{FF2B5EF4-FFF2-40B4-BE49-F238E27FC236}">
                <a16:creationId xmlns:a16="http://schemas.microsoft.com/office/drawing/2014/main" id="{BCE11E7A-B34D-AC47-D77B-DA5BE4FEC6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C4D04C-AEAC-44E1-8E84-F2DD17E7D01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4056865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FDCC7-4863-47B4-A4F4-1A58570FFF8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B029C1-0EC7-9CDD-B4F5-91B48C6F44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DCA881-DAA1-5954-CFA1-548B81DE9B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E2A93E-1F26-853D-89AD-3967242DE8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41EDC2-0BE5-42A0-7DB9-93DB7D2B30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0DA241-408A-FF64-9F79-89F22DF9EBC7}"/>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8" name="Footer Placeholder 7">
            <a:extLst>
              <a:ext uri="{FF2B5EF4-FFF2-40B4-BE49-F238E27FC236}">
                <a16:creationId xmlns:a16="http://schemas.microsoft.com/office/drawing/2014/main" id="{02E60CE3-7288-1B31-EBF6-2620085AF6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D8B748-DE1E-B80F-01E1-781876E580E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526722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51635-563A-1C2E-8169-5A989951C7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805C96-0BD6-90D4-E855-3A7D61B55DF8}"/>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4" name="Footer Placeholder 3">
            <a:extLst>
              <a:ext uri="{FF2B5EF4-FFF2-40B4-BE49-F238E27FC236}">
                <a16:creationId xmlns:a16="http://schemas.microsoft.com/office/drawing/2014/main" id="{109299B3-542A-CD4D-15BB-BB839C34DE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B33E60-B218-25CC-A7AF-074E9AD0ECC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301234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0B9352-6A27-60F5-04D8-484105E218F8}"/>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3" name="Footer Placeholder 2">
            <a:extLst>
              <a:ext uri="{FF2B5EF4-FFF2-40B4-BE49-F238E27FC236}">
                <a16:creationId xmlns:a16="http://schemas.microsoft.com/office/drawing/2014/main" id="{A36DEA8D-9575-634B-0321-5A9C5FF73E4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083B1-5B7E-65D9-43E4-0A303A3880F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934913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DC213-81D5-0CB8-50F8-195098624C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4B4DC1-F5B5-278A-4561-2D672EA309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6EF82F-874F-84DF-83CD-CC1936672C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958F37-2284-318A-FD23-BD544B4B94DB}"/>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6" name="Footer Placeholder 5">
            <a:extLst>
              <a:ext uri="{FF2B5EF4-FFF2-40B4-BE49-F238E27FC236}">
                <a16:creationId xmlns:a16="http://schemas.microsoft.com/office/drawing/2014/main" id="{F3178CF9-F28E-0CC3-B9F6-52B97D67FC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C252EF-875F-871E-9FA4-41B1F07EF023}"/>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486876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6E292-EE7E-F9A5-377E-8E21F303A9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4AE828-6E83-CE7C-EC98-220CF4FE56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2F6A20-342C-B037-7F49-5DC0BE78C07C}"/>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FCDC0C8F-DC41-92F2-F582-EF2D220ABC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8D914C-87E5-0427-42D5-D1A9E0A90327}"/>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1057951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3EC8E-F8A4-7ABF-1D4E-17B8595FA0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68423A-4185-52B4-2790-DB07CC5CC1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011A8-FFA0-1DC2-F333-702DE5E447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FCC83D-C123-E6D1-949C-C43C74988B3C}"/>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6" name="Footer Placeholder 5">
            <a:extLst>
              <a:ext uri="{FF2B5EF4-FFF2-40B4-BE49-F238E27FC236}">
                <a16:creationId xmlns:a16="http://schemas.microsoft.com/office/drawing/2014/main" id="{2BDFAE47-06C8-3AF3-2E10-E94707FCBF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4790C2-1E93-1725-7921-745EB1E39C34}"/>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154868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9ED58-C920-1E6F-170F-BC44C802BF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C798E84-B55B-A5CA-93D6-58EF0AA864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9487ED-F4AE-195D-3B1C-6478FA46A8D6}"/>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CFD1A467-DB5F-D478-4412-6375775464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1E0031-B5E7-DD41-B8CC-16B8363A985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708587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F0E0C8-2C13-E3A9-D900-4BE12FFAB1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401919-3B61-CF68-4369-4A6EE84903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D2CBC5-D153-31F1-041A-A2D04DD1515E}"/>
              </a:ext>
            </a:extLst>
          </p:cNvPr>
          <p:cNvSpPr>
            <a:spLocks noGrp="1"/>
          </p:cNvSpPr>
          <p:nvPr>
            <p:ph type="dt" sz="half" idx="10"/>
          </p:nvPr>
        </p:nvSpPr>
        <p:spPr/>
        <p:txBody>
          <a:body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C2F873BA-893F-48AD-6A61-C78BEB2353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CD93D-3294-66A5-2F54-AB640994F8F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015898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10394250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276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20119561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4586976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19240054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845511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95772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EAFB5-7DF8-F07E-F9C9-F37E644437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908E516-D546-A00B-B972-0751F56FEC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5C5F81-6A02-D800-EF22-67AF3498043D}"/>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E21EC166-6333-3391-173D-2B7FCBC52C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690259-37BC-D48E-8C36-71BBFEB8D611}"/>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15253446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268067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766504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8164979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19075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66851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073751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045989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68754387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41142562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1432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3081F-4F30-DE45-531E-4613F1E8A0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279090-EE06-5F13-73B7-8D991D11B3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F7A4D6-F28D-EB7F-7BA1-488ADD5553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A021BA-0265-2207-8770-9C634BA6BED8}"/>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6" name="Footer Placeholder 5">
            <a:extLst>
              <a:ext uri="{FF2B5EF4-FFF2-40B4-BE49-F238E27FC236}">
                <a16:creationId xmlns:a16="http://schemas.microsoft.com/office/drawing/2014/main" id="{A0258946-56DA-2B07-5464-259471946E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E1C34A-BE11-013E-9B12-3F4EF98F8BA6}"/>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38789904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to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784193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to back</a:t>
            </a:r>
          </a:p>
        </p:txBody>
      </p:sp>
    </p:spTree>
    <p:extLst>
      <p:ext uri="{BB962C8B-B14F-4D97-AF65-F5344CB8AC3E}">
        <p14:creationId xmlns:p14="http://schemas.microsoft.com/office/powerpoint/2010/main" val="21382658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68572634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8104109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19532121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9525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0092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E79D6-B55D-463D-BC1D-D209A125CA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6D0C993-F5CC-477B-B067-42A54FBBD6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7B0DF4-4950-4799-8374-36395705649D}"/>
              </a:ext>
            </a:extLst>
          </p:cNvPr>
          <p:cNvSpPr>
            <a:spLocks noGrp="1"/>
          </p:cNvSpPr>
          <p:nvPr>
            <p:ph type="dt" sz="half" idx="10"/>
          </p:nvPr>
        </p:nvSpPr>
        <p:spPr/>
        <p:txBody>
          <a:bodyPr/>
          <a:lstStyle/>
          <a:p>
            <a:fld id="{1360B6CF-E395-4ECA-82FC-D2F3CAC02AE7}" type="datetimeFigureOut">
              <a:rPr lang="en-GB" smtClean="0"/>
              <a:t>19/09/2023</a:t>
            </a:fld>
            <a:endParaRPr lang="en-GB"/>
          </a:p>
        </p:txBody>
      </p:sp>
      <p:sp>
        <p:nvSpPr>
          <p:cNvPr id="5" name="Footer Placeholder 4">
            <a:extLst>
              <a:ext uri="{FF2B5EF4-FFF2-40B4-BE49-F238E27FC236}">
                <a16:creationId xmlns:a16="http://schemas.microsoft.com/office/drawing/2014/main" id="{D933C05F-1014-4B9B-8FF0-A2A1F24944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79F586-37E2-4814-9522-235A9C195556}"/>
              </a:ext>
            </a:extLst>
          </p:cNvPr>
          <p:cNvSpPr>
            <a:spLocks noGrp="1"/>
          </p:cNvSpPr>
          <p:nvPr>
            <p:ph type="sldNum" sz="quarter" idx="12"/>
          </p:nvPr>
        </p:nvSpPr>
        <p:spPr/>
        <p:txBody>
          <a:bodyPr/>
          <a:lstStyle/>
          <a:p>
            <a:fld id="{04DB2AD6-EAE6-4B53-9D29-3F7F2D174E04}" type="slidenum">
              <a:rPr lang="en-GB" smtClean="0"/>
              <a:t>‹#›</a:t>
            </a:fld>
            <a:endParaRPr lang="en-GB"/>
          </a:p>
        </p:txBody>
      </p:sp>
    </p:spTree>
    <p:extLst>
      <p:ext uri="{BB962C8B-B14F-4D97-AF65-F5344CB8AC3E}">
        <p14:creationId xmlns:p14="http://schemas.microsoft.com/office/powerpoint/2010/main" val="9346808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50970-AD1F-D6D0-BD17-DE62E8C2728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5FD641-0845-2E70-33B1-7F77D321AE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951324-70EB-BAF1-A76F-3BD98DDE50A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AB5458-E00A-9FE6-C2EC-A1EA62E01A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43BC30-3AC6-89EE-2B08-2F55D584F77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101AB7-3DC4-A603-4EAC-8E25693EBF94}"/>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8" name="Footer Placeholder 7">
            <a:extLst>
              <a:ext uri="{FF2B5EF4-FFF2-40B4-BE49-F238E27FC236}">
                <a16:creationId xmlns:a16="http://schemas.microsoft.com/office/drawing/2014/main" id="{11079FD0-F251-BABC-75CD-751B92085D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019D9E-71AA-B4DC-978F-1172F32B4A79}"/>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3795891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91535-202B-A251-C7C6-D0ACF60EF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2186D3-DC70-0167-867D-9CE6117A9EF0}"/>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4" name="Footer Placeholder 3">
            <a:extLst>
              <a:ext uri="{FF2B5EF4-FFF2-40B4-BE49-F238E27FC236}">
                <a16:creationId xmlns:a16="http://schemas.microsoft.com/office/drawing/2014/main" id="{C7D15CDB-E77A-4855-8920-6DA5C30FF2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436E0D-4984-F281-E786-9E742E2A577A}"/>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1689987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C435EA-10AF-B34B-9313-618D80B69FC1}"/>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3" name="Footer Placeholder 2">
            <a:extLst>
              <a:ext uri="{FF2B5EF4-FFF2-40B4-BE49-F238E27FC236}">
                <a16:creationId xmlns:a16="http://schemas.microsoft.com/office/drawing/2014/main" id="{02AACEBE-FC9F-B777-8412-35C0DC18AD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037F814-4CE9-3C13-C945-019FD1D0D0F4}"/>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1412701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65FED-FFAD-396F-CB5F-E8BFB2CBE1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149EF8-7286-D863-4097-4E4A8C0570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4550338-BDC0-2402-A07D-8B516EC53A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209D31-E158-E597-5EF4-DE79F253A1C0}"/>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6" name="Footer Placeholder 5">
            <a:extLst>
              <a:ext uri="{FF2B5EF4-FFF2-40B4-BE49-F238E27FC236}">
                <a16:creationId xmlns:a16="http://schemas.microsoft.com/office/drawing/2014/main" id="{C1CBE0D2-617C-605D-F4FD-7AB9EA74F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37EA8B-2B37-58AA-5E36-37C9F81A2BA4}"/>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749272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59D68-0678-EC1E-4E95-4811412FB0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BA52AF-23E2-3C5A-C61F-CEE7162C00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A0E83A-B4AB-9B43-5DF5-7E7002E15D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562EA2-7F2B-33D2-8B77-29A23E4EE771}"/>
              </a:ext>
            </a:extLst>
          </p:cNvPr>
          <p:cNvSpPr>
            <a:spLocks noGrp="1"/>
          </p:cNvSpPr>
          <p:nvPr>
            <p:ph type="dt" sz="half" idx="10"/>
          </p:nvPr>
        </p:nvSpPr>
        <p:spPr/>
        <p:txBody>
          <a:bodyPr/>
          <a:lstStyle/>
          <a:p>
            <a:fld id="{0D6E55A8-56A9-446E-83CC-6DE1B2EDC37D}" type="datetimeFigureOut">
              <a:rPr lang="en-US" smtClean="0"/>
              <a:t>9/19/2023</a:t>
            </a:fld>
            <a:endParaRPr lang="en-US"/>
          </a:p>
        </p:txBody>
      </p:sp>
      <p:sp>
        <p:nvSpPr>
          <p:cNvPr id="6" name="Footer Placeholder 5">
            <a:extLst>
              <a:ext uri="{FF2B5EF4-FFF2-40B4-BE49-F238E27FC236}">
                <a16:creationId xmlns:a16="http://schemas.microsoft.com/office/drawing/2014/main" id="{54CBEDC0-52B3-FF78-A1CF-A6DCFE6534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DFC552-997A-D8F0-1118-A30E50C68154}"/>
              </a:ext>
            </a:extLst>
          </p:cNvPr>
          <p:cNvSpPr>
            <a:spLocks noGrp="1"/>
          </p:cNvSpPr>
          <p:nvPr>
            <p:ph type="sldNum" sz="quarter" idx="12"/>
          </p:nvPr>
        </p:nvSpPr>
        <p:spPr/>
        <p:txBody>
          <a:bodyPr/>
          <a:lstStyle/>
          <a:p>
            <a:fld id="{0A93A146-E150-40BC-AD8C-8DEAAA13AB23}" type="slidenum">
              <a:rPr lang="en-US" smtClean="0"/>
              <a:t>‹#›</a:t>
            </a:fld>
            <a:endParaRPr lang="en-US"/>
          </a:p>
        </p:txBody>
      </p:sp>
    </p:spTree>
    <p:extLst>
      <p:ext uri="{BB962C8B-B14F-4D97-AF65-F5344CB8AC3E}">
        <p14:creationId xmlns:p14="http://schemas.microsoft.com/office/powerpoint/2010/main" val="3440620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2.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3.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BC46E8-266B-E140-27C4-C1559627BE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28E03F-599E-7302-4436-B248F159FF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7BF359-AA09-FCA9-CB3B-542F972C94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6E55A8-56A9-446E-83CC-6DE1B2EDC37D}" type="datetimeFigureOut">
              <a:rPr lang="en-US" smtClean="0"/>
              <a:t>9/19/2023</a:t>
            </a:fld>
            <a:endParaRPr lang="en-US"/>
          </a:p>
        </p:txBody>
      </p:sp>
      <p:sp>
        <p:nvSpPr>
          <p:cNvPr id="5" name="Footer Placeholder 4">
            <a:extLst>
              <a:ext uri="{FF2B5EF4-FFF2-40B4-BE49-F238E27FC236}">
                <a16:creationId xmlns:a16="http://schemas.microsoft.com/office/drawing/2014/main" id="{4C54CE85-A5C1-7CF4-B266-9DB1F3196A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506C6CD-A0B3-3E41-D9A4-9B98F20CA4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93A146-E150-40BC-AD8C-8DEAAA13AB23}" type="slidenum">
              <a:rPr lang="en-US" smtClean="0"/>
              <a:t>‹#›</a:t>
            </a:fld>
            <a:endParaRPr lang="en-US"/>
          </a:p>
        </p:txBody>
      </p:sp>
    </p:spTree>
    <p:extLst>
      <p:ext uri="{BB962C8B-B14F-4D97-AF65-F5344CB8AC3E}">
        <p14:creationId xmlns:p14="http://schemas.microsoft.com/office/powerpoint/2010/main" val="17191104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B7C0DCA-D08B-8BCF-C1FE-69C48AB29D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6174D-860B-F424-C2E2-24B16259AE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5DD8D-4F94-8F5B-6FF3-4D5473CAC7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9FCFD7-3AE8-4B5F-A9D3-FF925B4C47D8}" type="datetimeFigureOut">
              <a:rPr lang="en-US" smtClean="0"/>
              <a:t>9/11/2023</a:t>
            </a:fld>
            <a:endParaRPr lang="en-US"/>
          </a:p>
        </p:txBody>
      </p:sp>
      <p:sp>
        <p:nvSpPr>
          <p:cNvPr id="5" name="Footer Placeholder 4">
            <a:extLst>
              <a:ext uri="{FF2B5EF4-FFF2-40B4-BE49-F238E27FC236}">
                <a16:creationId xmlns:a16="http://schemas.microsoft.com/office/drawing/2014/main" id="{E51EC165-B52D-7338-DD2F-F67F042815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1B3FB34-6996-E482-6F50-D7EC669734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5876E5-71BC-495B-9A07-4CD2AF425104}" type="slidenum">
              <a:rPr lang="en-US" smtClean="0"/>
              <a:t>‹#›</a:t>
            </a:fld>
            <a:endParaRPr lang="en-US"/>
          </a:p>
        </p:txBody>
      </p:sp>
    </p:spTree>
    <p:extLst>
      <p:ext uri="{BB962C8B-B14F-4D97-AF65-F5344CB8AC3E}">
        <p14:creationId xmlns:p14="http://schemas.microsoft.com/office/powerpoint/2010/main" val="8602931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Proposal for SAS migration | April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218316048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hyperlink" Target="https://www.datacamp.com/tutorial/how-to-use-chat-gpt-code-interpreter" TargetMode="Externa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www.datacamp.com/tutorial/how-to-use-chat-gpt-code-interpreter" TargetMode="External"/><Relationship Id="rId1" Type="http://schemas.openxmlformats.org/officeDocument/2006/relationships/slideLayout" Target="../slideLayouts/slideLayout1.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a:xfrm>
            <a:off x="5303839" y="0"/>
            <a:ext cx="6888162" cy="6858000"/>
          </a:xfrm>
        </p:spPr>
      </p:pic>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4" y="4561383"/>
            <a:ext cx="4899025" cy="323165"/>
          </a:xfrm>
        </p:spPr>
        <p:txBody>
          <a:bodyPr/>
          <a:lstStyle/>
          <a:p>
            <a:r>
              <a:rPr lang="en-GB" dirty="0"/>
              <a:t>September 2023</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4" y="1900050"/>
            <a:ext cx="4776786" cy="1375761"/>
          </a:xfrm>
        </p:spPr>
        <p:txBody>
          <a:bodyPr/>
          <a:lstStyle/>
          <a:p>
            <a:r>
              <a:rPr lang="en-GB" sz="4800" dirty="0"/>
              <a:t>GEN AI</a:t>
            </a:r>
            <a:br>
              <a:rPr lang="en-GB" sz="4800" dirty="0"/>
            </a:br>
            <a:r>
              <a:rPr lang="en-GB" sz="4800" dirty="0"/>
              <a:t>USE CASE</a:t>
            </a:r>
          </a:p>
        </p:txBody>
      </p:sp>
      <p:pic>
        <p:nvPicPr>
          <p:cNvPr id="6" name="Picture 5">
            <a:extLst>
              <a:ext uri="{FF2B5EF4-FFF2-40B4-BE49-F238E27FC236}">
                <a16:creationId xmlns:a16="http://schemas.microsoft.com/office/drawing/2014/main" id="{93919490-E65A-17A1-7BEC-B2F30A57D5D4}"/>
              </a:ext>
            </a:extLst>
          </p:cNvPr>
          <p:cNvPicPr>
            <a:picLocks noChangeAspect="1"/>
          </p:cNvPicPr>
          <p:nvPr/>
        </p:nvPicPr>
        <p:blipFill>
          <a:blip r:embed="rId3"/>
          <a:stretch>
            <a:fillRect/>
          </a:stretch>
        </p:blipFill>
        <p:spPr>
          <a:xfrm>
            <a:off x="3364812" y="1694526"/>
            <a:ext cx="12192000" cy="6559473"/>
          </a:xfrm>
          <a:prstGeom prst="rect">
            <a:avLst/>
          </a:prstGeom>
        </p:spPr>
      </p:pic>
    </p:spTree>
    <p:extLst>
      <p:ext uri="{BB962C8B-B14F-4D97-AF65-F5344CB8AC3E}">
        <p14:creationId xmlns:p14="http://schemas.microsoft.com/office/powerpoint/2010/main" val="967426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113CB2A9-FE47-8399-BE4B-A245AA4F5915}"/>
              </a:ext>
            </a:extLst>
          </p:cNvPr>
          <p:cNvSpPr txBox="1">
            <a:spLocks/>
          </p:cNvSpPr>
          <p:nvPr/>
        </p:nvSpPr>
        <p:spPr>
          <a:xfrm>
            <a:off x="6432331" y="467271"/>
            <a:ext cx="5486399" cy="857032"/>
          </a:xfrm>
          <a:prstGeom prst="rect">
            <a:avLst/>
          </a:prstGeom>
        </p:spPr>
        <p:txBody>
          <a:bodyPr vert="horz" lIns="91440" tIns="45720" rIns="91440" bIns="45720" rtlCol="0" anchor="b">
            <a:normAutofit fontScale="77500" lnSpcReduction="20000"/>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spcAft>
                <a:spcPts val="600"/>
              </a:spcAft>
            </a:pPr>
            <a:r>
              <a:rPr lang="en-US" sz="4300" b="1" dirty="0">
                <a:solidFill>
                  <a:schemeClr val="bg1"/>
                </a:solidFill>
                <a:latin typeface="Ubuntu" panose="020B0504030602030204" pitchFamily="34" charset="0"/>
              </a:rPr>
              <a:t>CODE INTERPRETATION</a:t>
            </a:r>
          </a:p>
        </p:txBody>
      </p:sp>
      <p:grpSp>
        <p:nvGrpSpPr>
          <p:cNvPr id="25" name="Group 24">
            <a:extLst>
              <a:ext uri="{FF2B5EF4-FFF2-40B4-BE49-F238E27FC236}">
                <a16:creationId xmlns:a16="http://schemas.microsoft.com/office/drawing/2014/main" id="{05BBA018-FA75-43BF-99E6-1F5245727D2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22753" y="703679"/>
            <a:ext cx="753718" cy="1016562"/>
            <a:chOff x="422753" y="703679"/>
            <a:chExt cx="753718" cy="1016562"/>
          </a:xfrm>
        </p:grpSpPr>
        <p:sp>
          <p:nvSpPr>
            <p:cNvPr id="26"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04956" y="703679"/>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1"/>
            </a:solidFill>
            <a:ln w="776" cap="flat">
              <a:noFill/>
              <a:prstDash val="solid"/>
              <a:miter/>
            </a:ln>
          </p:spPr>
          <p:txBody>
            <a:bodyPr rtlCol="0" anchor="ctr"/>
            <a:lstStyle/>
            <a:p>
              <a:endParaRPr lang="en-US"/>
            </a:p>
          </p:txBody>
        </p:sp>
        <p:sp>
          <p:nvSpPr>
            <p:cNvPr id="27"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2753" y="1562696"/>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1"/>
            </a:solidFill>
            <a:ln w="751" cap="flat">
              <a:noFill/>
              <a:prstDash val="solid"/>
              <a:miter/>
            </a:ln>
          </p:spPr>
          <p:txBody>
            <a:bodyPr rtlCol="0" anchor="ctr"/>
            <a:lstStyle/>
            <a:p>
              <a:endParaRPr lang="en-US"/>
            </a:p>
          </p:txBody>
        </p:sp>
      </p:grpSp>
      <p:sp>
        <p:nvSpPr>
          <p:cNvPr id="29" name="Freeform: Shape 28">
            <a:extLst>
              <a:ext uri="{FF2B5EF4-FFF2-40B4-BE49-F238E27FC236}">
                <a16:creationId xmlns:a16="http://schemas.microsoft.com/office/drawing/2014/main" id="{AB673405-BF85-493E-8558-0DCBEDB2BB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779610"/>
            <a:ext cx="4831130" cy="4078390"/>
          </a:xfrm>
          <a:custGeom>
            <a:avLst/>
            <a:gdLst>
              <a:gd name="connsiteX0" fmla="*/ 1960035 w 4831130"/>
              <a:gd name="connsiteY0" fmla="*/ 0 h 4078390"/>
              <a:gd name="connsiteX1" fmla="*/ 4831130 w 4831130"/>
              <a:gd name="connsiteY1" fmla="*/ 2871095 h 4078390"/>
              <a:gd name="connsiteX2" fmla="*/ 4605505 w 4831130"/>
              <a:gd name="connsiteY2" fmla="*/ 3988655 h 4078390"/>
              <a:gd name="connsiteX3" fmla="*/ 4562278 w 4831130"/>
              <a:gd name="connsiteY3" fmla="*/ 4078390 h 4078390"/>
              <a:gd name="connsiteX4" fmla="*/ 0 w 4831130"/>
              <a:gd name="connsiteY4" fmla="*/ 4078390 h 4078390"/>
              <a:gd name="connsiteX5" fmla="*/ 0 w 4831130"/>
              <a:gd name="connsiteY5" fmla="*/ 777181 h 4078390"/>
              <a:gd name="connsiteX6" fmla="*/ 133752 w 4831130"/>
              <a:gd name="connsiteY6" fmla="*/ 655619 h 4078390"/>
              <a:gd name="connsiteX7" fmla="*/ 1960035 w 4831130"/>
              <a:gd name="connsiteY7" fmla="*/ 0 h 40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1130" h="4078390">
                <a:moveTo>
                  <a:pt x="1960035" y="0"/>
                </a:moveTo>
                <a:cubicBezTo>
                  <a:pt x="3545697" y="0"/>
                  <a:pt x="4831130" y="1285433"/>
                  <a:pt x="4831130" y="2871095"/>
                </a:cubicBezTo>
                <a:cubicBezTo>
                  <a:pt x="4831130" y="3267511"/>
                  <a:pt x="4750791" y="3645162"/>
                  <a:pt x="4605505" y="3988655"/>
                </a:cubicBezTo>
                <a:lnTo>
                  <a:pt x="4562278" y="4078390"/>
                </a:lnTo>
                <a:lnTo>
                  <a:pt x="0" y="4078390"/>
                </a:lnTo>
                <a:lnTo>
                  <a:pt x="0" y="777181"/>
                </a:lnTo>
                <a:lnTo>
                  <a:pt x="133752" y="655619"/>
                </a:lnTo>
                <a:cubicBezTo>
                  <a:pt x="630047" y="246040"/>
                  <a:pt x="1266308" y="0"/>
                  <a:pt x="1960035" y="0"/>
                </a:cubicBezTo>
                <a:close/>
              </a:path>
            </a:pathLst>
          </a:cu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Freeform: Shape 30">
            <a:extLst>
              <a:ext uri="{FF2B5EF4-FFF2-40B4-BE49-F238E27FC236}">
                <a16:creationId xmlns:a16="http://schemas.microsoft.com/office/drawing/2014/main" id="{C64EAE84-A813-4501-BC71-DBD14BA026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59782" y="1"/>
            <a:ext cx="4195674" cy="3095741"/>
          </a:xfrm>
          <a:custGeom>
            <a:avLst/>
            <a:gdLst>
              <a:gd name="connsiteX0" fmla="*/ 252211 w 4195674"/>
              <a:gd name="connsiteY0" fmla="*/ 0 h 3095741"/>
              <a:gd name="connsiteX1" fmla="*/ 3943464 w 4195674"/>
              <a:gd name="connsiteY1" fmla="*/ 0 h 3095741"/>
              <a:gd name="connsiteX2" fmla="*/ 4030816 w 4195674"/>
              <a:gd name="connsiteY2" fmla="*/ 181331 h 3095741"/>
              <a:gd name="connsiteX3" fmla="*/ 4195674 w 4195674"/>
              <a:gd name="connsiteY3" fmla="*/ 997904 h 3095741"/>
              <a:gd name="connsiteX4" fmla="*/ 2097837 w 4195674"/>
              <a:gd name="connsiteY4" fmla="*/ 3095741 h 3095741"/>
              <a:gd name="connsiteX5" fmla="*/ 0 w 4195674"/>
              <a:gd name="connsiteY5" fmla="*/ 997904 h 3095741"/>
              <a:gd name="connsiteX6" fmla="*/ 164859 w 4195674"/>
              <a:gd name="connsiteY6" fmla="*/ 181331 h 309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5674" h="3095741">
                <a:moveTo>
                  <a:pt x="252211" y="0"/>
                </a:moveTo>
                <a:lnTo>
                  <a:pt x="3943464" y="0"/>
                </a:lnTo>
                <a:lnTo>
                  <a:pt x="4030816" y="181331"/>
                </a:lnTo>
                <a:cubicBezTo>
                  <a:pt x="4136972" y="432313"/>
                  <a:pt x="4195674" y="708253"/>
                  <a:pt x="4195674" y="997904"/>
                </a:cubicBezTo>
                <a:cubicBezTo>
                  <a:pt x="4195674" y="2156507"/>
                  <a:pt x="3256440" y="3095741"/>
                  <a:pt x="2097837" y="3095741"/>
                </a:cubicBezTo>
                <a:cubicBezTo>
                  <a:pt x="939234" y="3095741"/>
                  <a:pt x="0" y="2156507"/>
                  <a:pt x="0" y="997904"/>
                </a:cubicBezTo>
                <a:cubicBezTo>
                  <a:pt x="0" y="708253"/>
                  <a:pt x="58702" y="432313"/>
                  <a:pt x="164859" y="181331"/>
                </a:cubicBezTo>
                <a:close/>
              </a:path>
            </a:pathLst>
          </a:cu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TextBox 6">
            <a:extLst>
              <a:ext uri="{FF2B5EF4-FFF2-40B4-BE49-F238E27FC236}">
                <a16:creationId xmlns:a16="http://schemas.microsoft.com/office/drawing/2014/main" id="{254E54D7-F589-0A42-D88B-8C44D9721A3E}"/>
              </a:ext>
            </a:extLst>
          </p:cNvPr>
          <p:cNvSpPr txBox="1"/>
          <p:nvPr/>
        </p:nvSpPr>
        <p:spPr>
          <a:xfrm>
            <a:off x="5937969" y="1791574"/>
            <a:ext cx="5535767" cy="4599155"/>
          </a:xfrm>
          <a:prstGeom prst="rect">
            <a:avLst/>
          </a:prstGeom>
        </p:spPr>
        <p:txBody>
          <a:bodyPr vert="horz" lIns="91440" tIns="45720" rIns="91440" bIns="45720" rtlCol="0" anchor="t">
            <a:normAutofit/>
          </a:bodyPr>
          <a:lstStyle/>
          <a:p>
            <a:pPr marL="342900" indent="-228600">
              <a:lnSpc>
                <a:spcPct val="90000"/>
              </a:lnSpc>
              <a:spcAft>
                <a:spcPts val="600"/>
              </a:spcAft>
              <a:buFont typeface="Arial" panose="020B0604020202020204" pitchFamily="34" charset="0"/>
              <a:buChar char="•"/>
            </a:pPr>
            <a:r>
              <a:rPr lang="en-US" i="0" dirty="0">
                <a:solidFill>
                  <a:schemeClr val="bg1"/>
                </a:solidFill>
                <a:effectLst/>
                <a:latin typeface="Ubuntu" panose="020B0504030602030204" pitchFamily="34" charset="0"/>
              </a:rPr>
              <a:t>Code interpretation, also known as code analysis or code understanding, plays a crucial role in software development and various other fields. </a:t>
            </a:r>
          </a:p>
          <a:p>
            <a:pPr marL="34290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342900" indent="-228600">
              <a:lnSpc>
                <a:spcPct val="90000"/>
              </a:lnSpc>
              <a:spcAft>
                <a:spcPts val="600"/>
              </a:spcAft>
              <a:buFont typeface="Arial" panose="020B0604020202020204" pitchFamily="34" charset="0"/>
              <a:buChar char="•"/>
            </a:pPr>
            <a:r>
              <a:rPr lang="en-US" i="0" dirty="0">
                <a:solidFill>
                  <a:schemeClr val="bg1"/>
                </a:solidFill>
                <a:effectLst/>
                <a:latin typeface="Ubuntu" panose="020B0504030602030204" pitchFamily="34" charset="0"/>
              </a:rPr>
              <a:t>It involves the process of comprehending and explaining the functionality, structure, and purpose of a piece of code. </a:t>
            </a:r>
          </a:p>
          <a:p>
            <a:pPr marL="34290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342900" indent="-228600">
              <a:lnSpc>
                <a:spcPct val="90000"/>
              </a:lnSpc>
              <a:spcAft>
                <a:spcPts val="600"/>
              </a:spcAft>
              <a:buFont typeface="Arial" panose="020B0604020202020204" pitchFamily="34" charset="0"/>
              <a:buChar char="•"/>
            </a:pPr>
            <a:r>
              <a:rPr lang="en-US" i="0" dirty="0">
                <a:solidFill>
                  <a:schemeClr val="bg1"/>
                </a:solidFill>
                <a:effectLst/>
                <a:latin typeface="Ubuntu" panose="020B0504030602030204" pitchFamily="34" charset="0"/>
              </a:rPr>
              <a:t>This use case explores how code interpretation can be applied to solve real-world problems and showcases its importance in different domains.</a:t>
            </a:r>
          </a:p>
          <a:p>
            <a:pPr marL="34290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342900" indent="-228600">
              <a:lnSpc>
                <a:spcPct val="90000"/>
              </a:lnSpc>
              <a:spcAft>
                <a:spcPts val="600"/>
              </a:spcAft>
              <a:buFont typeface="Arial" panose="020B0604020202020204" pitchFamily="34" charset="0"/>
              <a:buChar char="•"/>
            </a:pPr>
            <a:r>
              <a:rPr lang="en-US" i="0" dirty="0">
                <a:solidFill>
                  <a:schemeClr val="bg1"/>
                </a:solidFill>
                <a:effectLst/>
                <a:latin typeface="Ubuntu" panose="020B0504030602030204" pitchFamily="34" charset="0"/>
              </a:rPr>
              <a:t>Using Interpreter, the user can get the visual analysis (plots) and even the dataset explanation for the input dataset.</a:t>
            </a:r>
          </a:p>
          <a:p>
            <a:pPr indent="-228600">
              <a:lnSpc>
                <a:spcPct val="90000"/>
              </a:lnSpc>
              <a:spcAft>
                <a:spcPts val="600"/>
              </a:spcAft>
              <a:buFont typeface="Arial" panose="020B0604020202020204" pitchFamily="34" charset="0"/>
              <a:buChar char="•"/>
            </a:pPr>
            <a:endParaRPr lang="en-US" i="0" dirty="0">
              <a:solidFill>
                <a:schemeClr val="bg1"/>
              </a:solidFill>
              <a:effectLst/>
              <a:latin typeface="Ubuntu" panose="020B0504030602030204" pitchFamily="34" charset="0"/>
            </a:endParaRPr>
          </a:p>
        </p:txBody>
      </p:sp>
      <p:pic>
        <p:nvPicPr>
          <p:cNvPr id="5" name="Picture 4" descr="A logo on a black background&#10;&#10;Description automatically generated">
            <a:extLst>
              <a:ext uri="{FF2B5EF4-FFF2-40B4-BE49-F238E27FC236}">
                <a16:creationId xmlns:a16="http://schemas.microsoft.com/office/drawing/2014/main" id="{DD53318B-01F6-481F-744F-956730825CC9}"/>
              </a:ext>
            </a:extLst>
          </p:cNvPr>
          <p:cNvPicPr>
            <a:picLocks noChangeAspect="1"/>
          </p:cNvPicPr>
          <p:nvPr/>
        </p:nvPicPr>
        <p:blipFill rotWithShape="1">
          <a:blip r:embed="rId2">
            <a:extLst>
              <a:ext uri="{28A0092B-C50C-407E-A947-70E740481C1C}">
                <a14:useLocalDpi xmlns:a14="http://schemas.microsoft.com/office/drawing/2010/main" val="0"/>
              </a:ext>
            </a:extLst>
          </a:blip>
          <a:srcRect l="17727" r="16457" b="-4"/>
          <a:stretch/>
        </p:blipFill>
        <p:spPr>
          <a:xfrm>
            <a:off x="648639" y="3836472"/>
            <a:ext cx="2865781" cy="2449351"/>
          </a:xfrm>
          <a:prstGeom prst="rect">
            <a:avLst/>
          </a:prstGeom>
        </p:spPr>
      </p:pic>
      <p:sp>
        <p:nvSpPr>
          <p:cNvPr id="33"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54149" y="5775082"/>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1"/>
          </a:solidFill>
          <a:ln w="516" cap="flat">
            <a:noFill/>
            <a:prstDash val="solid"/>
            <a:miter/>
          </a:ln>
        </p:spPr>
        <p:txBody>
          <a:bodyPr rtlCol="0" anchor="ctr"/>
          <a:lstStyle/>
          <a:p>
            <a:endParaRPr lang="en-US">
              <a:solidFill>
                <a:srgbClr val="FFFFFF"/>
              </a:solidFill>
            </a:endParaRPr>
          </a:p>
        </p:txBody>
      </p:sp>
      <p:cxnSp>
        <p:nvCxnSpPr>
          <p:cNvPr id="35" name="Straight Connector 34">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pic>
        <p:nvPicPr>
          <p:cNvPr id="13" name="Picture 12" descr="A logo with a snake&#10;&#10;Description automatically generated">
            <a:extLst>
              <a:ext uri="{FF2B5EF4-FFF2-40B4-BE49-F238E27FC236}">
                <a16:creationId xmlns:a16="http://schemas.microsoft.com/office/drawing/2014/main" id="{9B8D46AC-6FBC-A7FA-28BA-4504EC4200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3723" y="144090"/>
            <a:ext cx="2360426" cy="2360426"/>
          </a:xfrm>
          <a:prstGeom prst="rect">
            <a:avLst/>
          </a:prstGeom>
        </p:spPr>
      </p:pic>
    </p:spTree>
    <p:extLst>
      <p:ext uri="{BB962C8B-B14F-4D97-AF65-F5344CB8AC3E}">
        <p14:creationId xmlns:p14="http://schemas.microsoft.com/office/powerpoint/2010/main" val="1272581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Arc 13">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F261CD3-2636-494A-BB67-E6E795052474}"/>
              </a:ext>
            </a:extLst>
          </p:cNvPr>
          <p:cNvSpPr txBox="1"/>
          <p:nvPr/>
        </p:nvSpPr>
        <p:spPr>
          <a:xfrm>
            <a:off x="236752" y="111245"/>
            <a:ext cx="9148986" cy="830317"/>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200" b="1" kern="1200" dirty="0">
                <a:solidFill>
                  <a:schemeClr val="bg1"/>
                </a:solidFill>
                <a:latin typeface="Ubuntu" panose="020B0504030602030204" pitchFamily="34" charset="0"/>
                <a:ea typeface="+mj-ea"/>
                <a:cs typeface="+mj-cs"/>
              </a:rPr>
              <a:t>1) PYTHON TUTOR – Code </a:t>
            </a:r>
            <a:r>
              <a:rPr lang="en-US" sz="3200" b="1" kern="1200" dirty="0" err="1">
                <a:solidFill>
                  <a:schemeClr val="bg1"/>
                </a:solidFill>
                <a:latin typeface="Ubuntu" panose="020B0504030602030204" pitchFamily="34" charset="0"/>
                <a:ea typeface="+mj-ea"/>
                <a:cs typeface="+mj-cs"/>
              </a:rPr>
              <a:t>visualiser</a:t>
            </a:r>
            <a:endParaRPr lang="en-US" sz="3200" b="1" kern="1200" dirty="0">
              <a:solidFill>
                <a:schemeClr val="bg1"/>
              </a:solidFill>
              <a:latin typeface="Ubuntu" panose="020B0504030602030204" pitchFamily="34" charset="0"/>
              <a:ea typeface="+mj-ea"/>
              <a:cs typeface="+mj-cs"/>
            </a:endParaRPr>
          </a:p>
        </p:txBody>
      </p:sp>
      <p:sp>
        <p:nvSpPr>
          <p:cNvPr id="16" name="Freeform: Shape 15">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a:extLst>
              <a:ext uri="{FF2B5EF4-FFF2-40B4-BE49-F238E27FC236}">
                <a16:creationId xmlns:a16="http://schemas.microsoft.com/office/drawing/2014/main" id="{289FEEB0-2618-E3FB-FDAE-4BD8052DC15D}"/>
              </a:ext>
            </a:extLst>
          </p:cNvPr>
          <p:cNvPicPr>
            <a:picLocks noChangeAspect="1"/>
          </p:cNvPicPr>
          <p:nvPr/>
        </p:nvPicPr>
        <p:blipFill>
          <a:blip r:embed="rId2"/>
          <a:stretch>
            <a:fillRect/>
          </a:stretch>
        </p:blipFill>
        <p:spPr>
          <a:xfrm>
            <a:off x="5622801" y="953449"/>
            <a:ext cx="4777381" cy="3081409"/>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5" name="TextBox 4">
            <a:extLst>
              <a:ext uri="{FF2B5EF4-FFF2-40B4-BE49-F238E27FC236}">
                <a16:creationId xmlns:a16="http://schemas.microsoft.com/office/drawing/2014/main" id="{0EDE989F-AEEA-1F60-795E-38039AD495B5}"/>
              </a:ext>
            </a:extLst>
          </p:cNvPr>
          <p:cNvSpPr txBox="1"/>
          <p:nvPr/>
        </p:nvSpPr>
        <p:spPr>
          <a:xfrm>
            <a:off x="152807" y="983604"/>
            <a:ext cx="5458838" cy="4192520"/>
          </a:xfrm>
          <a:prstGeom prst="rect">
            <a:avLst/>
          </a:prstGeom>
        </p:spPr>
        <p:txBody>
          <a:bodyPr vert="horz" lIns="91440" tIns="45720" rIns="91440" bIns="45720" rtlCol="0">
            <a:normAutofit/>
          </a:bodyPr>
          <a:lstStyle/>
          <a:p>
            <a:pPr marL="285750" indent="-228600">
              <a:lnSpc>
                <a:spcPct val="90000"/>
              </a:lnSpc>
              <a:spcAft>
                <a:spcPts val="600"/>
              </a:spcAft>
              <a:buFont typeface="Arial" panose="020B0604020202020204" pitchFamily="34" charset="0"/>
              <a:buChar char="•"/>
            </a:pPr>
            <a:r>
              <a:rPr lang="en-US" dirty="0">
                <a:solidFill>
                  <a:schemeClr val="bg1"/>
                </a:solidFill>
                <a:latin typeface="Ubuntu" panose="020B0504030602030204" pitchFamily="34" charset="0"/>
              </a:rPr>
              <a:t>This tool helps people overcome a fundamental barrier to learning programming: understanding what happens as the computer executes each line of a program's source code</a:t>
            </a: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285750" indent="-228600">
              <a:lnSpc>
                <a:spcPct val="90000"/>
              </a:lnSpc>
              <a:spcAft>
                <a:spcPts val="600"/>
              </a:spcAft>
              <a:buFont typeface="Arial" panose="020B0604020202020204" pitchFamily="34" charset="0"/>
              <a:buChar char="•"/>
            </a:pPr>
            <a:r>
              <a:rPr lang="en-US" dirty="0">
                <a:solidFill>
                  <a:schemeClr val="bg1"/>
                </a:solidFill>
                <a:latin typeface="Ubuntu" panose="020B0504030602030204" pitchFamily="34" charset="0"/>
              </a:rPr>
              <a:t>Using this tool, we can write Python, Java, JavaScript, TypeScript, Ruby, C, and C++ programs in your Web browser and visualize what the computer is doing step-by-step as it executes those programs.</a:t>
            </a: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285750" indent="-228600">
              <a:lnSpc>
                <a:spcPct val="90000"/>
              </a:lnSpc>
              <a:spcAft>
                <a:spcPts val="600"/>
              </a:spcAft>
              <a:buFont typeface="Arial" panose="020B0604020202020204" pitchFamily="34" charset="0"/>
              <a:buChar char="•"/>
            </a:pPr>
            <a:r>
              <a:rPr lang="en-US" dirty="0">
                <a:solidFill>
                  <a:schemeClr val="bg1"/>
                </a:solidFill>
                <a:latin typeface="Ubuntu" panose="020B0504030602030204" pitchFamily="34" charset="0"/>
              </a:rPr>
              <a:t>This tool can be locally executed through localhost by cloning the </a:t>
            </a:r>
            <a:r>
              <a:rPr lang="en-US" dirty="0" err="1">
                <a:solidFill>
                  <a:schemeClr val="bg1"/>
                </a:solidFill>
                <a:latin typeface="Ubuntu" panose="020B0504030602030204" pitchFamily="34" charset="0"/>
              </a:rPr>
              <a:t>github</a:t>
            </a:r>
            <a:r>
              <a:rPr lang="en-US" dirty="0">
                <a:solidFill>
                  <a:schemeClr val="bg1"/>
                </a:solidFill>
                <a:latin typeface="Ubuntu" panose="020B0504030602030204" pitchFamily="34" charset="0"/>
              </a:rPr>
              <a:t> page - https://github.com/pathrise-eng/pathrise-python-tutor</a:t>
            </a: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a:p>
            <a:pPr marL="285750" indent="-228600">
              <a:lnSpc>
                <a:spcPct val="90000"/>
              </a:lnSpc>
              <a:spcAft>
                <a:spcPts val="600"/>
              </a:spcAft>
              <a:buFont typeface="Arial" panose="020B0604020202020204" pitchFamily="34" charset="0"/>
              <a:buChar char="•"/>
            </a:pPr>
            <a:endParaRPr lang="en-US" dirty="0">
              <a:solidFill>
                <a:schemeClr val="bg1"/>
              </a:solidFill>
              <a:latin typeface="Ubuntu" panose="020B0504030602030204" pitchFamily="34" charset="0"/>
            </a:endParaRPr>
          </a:p>
        </p:txBody>
      </p:sp>
      <p:pic>
        <p:nvPicPr>
          <p:cNvPr id="9" name="Picture 8">
            <a:extLst>
              <a:ext uri="{FF2B5EF4-FFF2-40B4-BE49-F238E27FC236}">
                <a16:creationId xmlns:a16="http://schemas.microsoft.com/office/drawing/2014/main" id="{261A708D-B4F6-B099-B995-3EA6CB9878D7}"/>
              </a:ext>
            </a:extLst>
          </p:cNvPr>
          <p:cNvPicPr>
            <a:picLocks noChangeAspect="1"/>
          </p:cNvPicPr>
          <p:nvPr/>
        </p:nvPicPr>
        <p:blipFill>
          <a:blip r:embed="rId3"/>
          <a:stretch>
            <a:fillRect/>
          </a:stretch>
        </p:blipFill>
        <p:spPr>
          <a:xfrm>
            <a:off x="8101393" y="3987270"/>
            <a:ext cx="4000706" cy="2711589"/>
          </a:xfrm>
          <a:prstGeom prst="rect">
            <a:avLst/>
          </a:prstGeom>
        </p:spPr>
      </p:pic>
      <p:sp>
        <p:nvSpPr>
          <p:cNvPr id="13" name="TextBox 12">
            <a:extLst>
              <a:ext uri="{FF2B5EF4-FFF2-40B4-BE49-F238E27FC236}">
                <a16:creationId xmlns:a16="http://schemas.microsoft.com/office/drawing/2014/main" id="{986963C6-09F2-20DF-8B27-1860E9D35F16}"/>
              </a:ext>
            </a:extLst>
          </p:cNvPr>
          <p:cNvSpPr txBox="1"/>
          <p:nvPr/>
        </p:nvSpPr>
        <p:spPr>
          <a:xfrm>
            <a:off x="2750352" y="5170210"/>
            <a:ext cx="5261140" cy="1569660"/>
          </a:xfrm>
          <a:prstGeom prst="rect">
            <a:avLst/>
          </a:prstGeom>
          <a:noFill/>
          <a:ln w="19050">
            <a:solidFill>
              <a:schemeClr val="accent2"/>
            </a:solidFill>
          </a:ln>
        </p:spPr>
        <p:txBody>
          <a:bodyPr wrap="square" rtlCol="0">
            <a:spAutoFit/>
          </a:bodyPr>
          <a:lstStyle/>
          <a:p>
            <a:r>
              <a:rPr lang="en-IN" sz="1600" dirty="0">
                <a:solidFill>
                  <a:schemeClr val="bg1"/>
                </a:solidFill>
                <a:latin typeface="Ubuntu" panose="020B0504030602030204" pitchFamily="34" charset="0"/>
              </a:rPr>
              <a:t>After cloning the git page, Python visualisations can be ran on the local machine by using the following command</a:t>
            </a:r>
          </a:p>
          <a:p>
            <a:pPr marL="285750" indent="-285750">
              <a:buFont typeface="Arial" panose="020B0604020202020204" pitchFamily="34" charset="0"/>
              <a:buChar char="•"/>
            </a:pPr>
            <a:r>
              <a:rPr lang="en-IN" sz="1600" dirty="0">
                <a:solidFill>
                  <a:schemeClr val="bg1"/>
                </a:solidFill>
                <a:latin typeface="Ubuntu" panose="020B0504030602030204" pitchFamily="34" charset="0"/>
              </a:rPr>
              <a:t>pip install bottle</a:t>
            </a:r>
          </a:p>
          <a:p>
            <a:pPr marL="285750" indent="-285750">
              <a:buFont typeface="Arial" panose="020B0604020202020204" pitchFamily="34" charset="0"/>
              <a:buChar char="•"/>
            </a:pPr>
            <a:r>
              <a:rPr lang="en-IN" sz="1600" dirty="0">
                <a:solidFill>
                  <a:schemeClr val="bg1"/>
                </a:solidFill>
                <a:latin typeface="Ubuntu" panose="020B0504030602030204" pitchFamily="34" charset="0"/>
              </a:rPr>
              <a:t>cd v5-unity/</a:t>
            </a:r>
          </a:p>
          <a:p>
            <a:pPr marL="285750" indent="-285750">
              <a:buFont typeface="Arial" panose="020B0604020202020204" pitchFamily="34" charset="0"/>
              <a:buChar char="•"/>
            </a:pPr>
            <a:r>
              <a:rPr lang="en-IN" sz="1600" dirty="0">
                <a:solidFill>
                  <a:schemeClr val="bg1"/>
                </a:solidFill>
                <a:latin typeface="Ubuntu" panose="020B0504030602030204" pitchFamily="34" charset="0"/>
              </a:rPr>
              <a:t>Python bottle_server.py</a:t>
            </a:r>
            <a:endParaRPr lang="en-US" sz="1600" dirty="0">
              <a:solidFill>
                <a:schemeClr val="bg1"/>
              </a:solidFill>
              <a:latin typeface="Ubuntu" panose="020B0504030602030204" pitchFamily="34" charset="0"/>
            </a:endParaRPr>
          </a:p>
        </p:txBody>
      </p:sp>
    </p:spTree>
    <p:extLst>
      <p:ext uri="{BB962C8B-B14F-4D97-AF65-F5344CB8AC3E}">
        <p14:creationId xmlns:p14="http://schemas.microsoft.com/office/powerpoint/2010/main" val="2425590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c 13">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F261CD3-2636-494A-BB67-E6E795052474}"/>
              </a:ext>
            </a:extLst>
          </p:cNvPr>
          <p:cNvSpPr txBox="1"/>
          <p:nvPr/>
        </p:nvSpPr>
        <p:spPr>
          <a:xfrm>
            <a:off x="236751" y="111245"/>
            <a:ext cx="8865207" cy="830317"/>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lang="en-US" sz="3200" b="1" dirty="0">
                <a:solidFill>
                  <a:prstClr val="white"/>
                </a:solidFill>
                <a:latin typeface="Ubuntu" panose="020B0504030602030204" pitchFamily="34" charset="0"/>
              </a:rPr>
              <a:t>2a</a:t>
            </a:r>
            <a:r>
              <a:rPr kumimoji="0" lang="en-US" sz="32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 DATA ANALYSIS – Dataset Interpreter</a:t>
            </a:r>
          </a:p>
        </p:txBody>
      </p:sp>
      <p:sp>
        <p:nvSpPr>
          <p:cNvPr id="16" name="Freeform: Shape 15">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0EDE989F-AEEA-1F60-795E-38039AD495B5}"/>
              </a:ext>
            </a:extLst>
          </p:cNvPr>
          <p:cNvSpPr txBox="1"/>
          <p:nvPr/>
        </p:nvSpPr>
        <p:spPr>
          <a:xfrm>
            <a:off x="162582" y="856095"/>
            <a:ext cx="10925096" cy="4192520"/>
          </a:xfrm>
          <a:prstGeom prst="rect">
            <a:avLst/>
          </a:prstGeom>
        </p:spPr>
        <p:txBody>
          <a:bodyPr vert="horz" lIns="91440" tIns="45720" rIns="91440" bIns="45720" rtlCol="0">
            <a:norm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white"/>
                </a:solidFill>
                <a:effectLst/>
                <a:uLnTx/>
                <a:uFillTx/>
                <a:latin typeface="Ubuntu" panose="020B0504030602030204" pitchFamily="34" charset="0"/>
                <a:ea typeface="+mn-ea"/>
                <a:cs typeface="+mn-cs"/>
              </a:rPr>
              <a:t>ChatGPT</a:t>
            </a:r>
            <a:r>
              <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 Plus has </a:t>
            </a:r>
            <a:r>
              <a:rPr lang="en-US" dirty="0">
                <a:solidFill>
                  <a:prstClr val="white"/>
                </a:solidFill>
                <a:latin typeface="Ubuntu" panose="020B0504030602030204" pitchFamily="34" charset="0"/>
              </a:rPr>
              <a:t>c</a:t>
            </a:r>
            <a:r>
              <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ode interpreter feature using which user can upload data in various file format</a:t>
            </a:r>
            <a:endParaRPr lang="en-US" dirty="0">
              <a:solidFill>
                <a:prstClr val="white"/>
              </a:solidFill>
              <a:latin typeface="Ubuntu" panose="020B0504030602030204" pitchFamily="34" charset="0"/>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User can ask </a:t>
            </a:r>
            <a:r>
              <a:rPr kumimoji="0" lang="en-US" sz="1800" b="0" i="0" u="none" strike="noStrike" kern="1200" cap="none" spc="0" normalizeH="0" baseline="0" noProof="0" dirty="0" err="1">
                <a:ln>
                  <a:noFill/>
                </a:ln>
                <a:solidFill>
                  <a:prstClr val="white"/>
                </a:solidFill>
                <a:effectLst/>
                <a:uLnTx/>
                <a:uFillTx/>
                <a:latin typeface="Ubuntu" panose="020B0504030602030204" pitchFamily="34" charset="0"/>
                <a:ea typeface="+mn-ea"/>
                <a:cs typeface="+mn-cs"/>
              </a:rPr>
              <a:t>ChatGPT</a:t>
            </a:r>
            <a:r>
              <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 to find something interesting in the input dataset, it can examine information like financial records, health stats, or location details and give insights on the data. </a:t>
            </a:r>
            <a:endParaRPr lang="en-US" dirty="0">
              <a:solidFill>
                <a:prstClr val="white"/>
              </a:solidFill>
              <a:latin typeface="Ubuntu" panose="020B0504030602030204" pitchFamily="34" charset="0"/>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People working in finance have found it useful for tasks like studying stock prices or planning a budget. Researchers are also using this tool to make unique data visualizations.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dirty="0">
                <a:solidFill>
                  <a:prstClr val="white"/>
                </a:solidFill>
                <a:latin typeface="Ubuntu" panose="020B0504030602030204" pitchFamily="34" charset="0"/>
              </a:rPr>
              <a:t>Example :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dirty="0">
              <a:solidFill>
                <a:prstClr val="white"/>
              </a:solidFill>
              <a:latin typeface="Ubuntu" panose="020B0504030602030204" pitchFamily="34" charset="0"/>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dirty="0">
              <a:solidFill>
                <a:prstClr val="white"/>
              </a:solidFill>
              <a:latin typeface="Ubuntu" panose="020B0504030602030204" pitchFamily="34" charset="0"/>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dirty="0">
                <a:solidFill>
                  <a:prstClr val="white"/>
                </a:solidFill>
                <a:latin typeface="Ubuntu" panose="020B0504030602030204" pitchFamily="34" charset="0"/>
              </a:rPr>
              <a:t>INPUT :</a:t>
            </a: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p:txBody>
      </p:sp>
      <p:pic>
        <p:nvPicPr>
          <p:cNvPr id="3" name="Picture 2">
            <a:extLst>
              <a:ext uri="{FF2B5EF4-FFF2-40B4-BE49-F238E27FC236}">
                <a16:creationId xmlns:a16="http://schemas.microsoft.com/office/drawing/2014/main" id="{59DECD89-0A30-242B-C95F-43F7E772A576}"/>
              </a:ext>
            </a:extLst>
          </p:cNvPr>
          <p:cNvPicPr>
            <a:picLocks noChangeAspect="1"/>
          </p:cNvPicPr>
          <p:nvPr/>
        </p:nvPicPr>
        <p:blipFill>
          <a:blip r:embed="rId2"/>
          <a:stretch>
            <a:fillRect/>
          </a:stretch>
        </p:blipFill>
        <p:spPr>
          <a:xfrm>
            <a:off x="2150092" y="2436921"/>
            <a:ext cx="5049814" cy="1681758"/>
          </a:xfrm>
          <a:prstGeom prst="rect">
            <a:avLst/>
          </a:prstGeom>
        </p:spPr>
      </p:pic>
      <p:pic>
        <p:nvPicPr>
          <p:cNvPr id="8" name="Picture 7">
            <a:extLst>
              <a:ext uri="{FF2B5EF4-FFF2-40B4-BE49-F238E27FC236}">
                <a16:creationId xmlns:a16="http://schemas.microsoft.com/office/drawing/2014/main" id="{F480113F-EFD6-63F6-7061-0456E6543EC4}"/>
              </a:ext>
            </a:extLst>
          </p:cNvPr>
          <p:cNvPicPr>
            <a:picLocks noChangeAspect="1"/>
          </p:cNvPicPr>
          <p:nvPr/>
        </p:nvPicPr>
        <p:blipFill>
          <a:blip r:embed="rId3"/>
          <a:stretch>
            <a:fillRect/>
          </a:stretch>
        </p:blipFill>
        <p:spPr>
          <a:xfrm>
            <a:off x="2150092" y="4209355"/>
            <a:ext cx="5049814" cy="1397072"/>
          </a:xfrm>
          <a:prstGeom prst="rect">
            <a:avLst/>
          </a:prstGeom>
        </p:spPr>
      </p:pic>
      <p:pic>
        <p:nvPicPr>
          <p:cNvPr id="11" name="Picture 10">
            <a:extLst>
              <a:ext uri="{FF2B5EF4-FFF2-40B4-BE49-F238E27FC236}">
                <a16:creationId xmlns:a16="http://schemas.microsoft.com/office/drawing/2014/main" id="{815EB49F-D0D5-B92B-3E37-98B6D38C1BEF}"/>
              </a:ext>
            </a:extLst>
          </p:cNvPr>
          <p:cNvPicPr>
            <a:picLocks noChangeAspect="1"/>
          </p:cNvPicPr>
          <p:nvPr/>
        </p:nvPicPr>
        <p:blipFill>
          <a:blip r:embed="rId4"/>
          <a:stretch>
            <a:fillRect/>
          </a:stretch>
        </p:blipFill>
        <p:spPr>
          <a:xfrm>
            <a:off x="8728956" y="2582790"/>
            <a:ext cx="3295500" cy="4219158"/>
          </a:xfrm>
          <a:prstGeom prst="rect">
            <a:avLst/>
          </a:prstGeom>
        </p:spPr>
      </p:pic>
      <p:sp>
        <p:nvSpPr>
          <p:cNvPr id="15" name="Rectangle: Rounded Corners 14">
            <a:extLst>
              <a:ext uri="{FF2B5EF4-FFF2-40B4-BE49-F238E27FC236}">
                <a16:creationId xmlns:a16="http://schemas.microsoft.com/office/drawing/2014/main" id="{B6022F78-5AFD-E09C-3CF1-4E80A02DF715}"/>
              </a:ext>
            </a:extLst>
          </p:cNvPr>
          <p:cNvSpPr/>
          <p:nvPr/>
        </p:nvSpPr>
        <p:spPr>
          <a:xfrm>
            <a:off x="9712656" y="2167772"/>
            <a:ext cx="1328099" cy="4150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OUTPUT</a:t>
            </a:r>
            <a:endParaRPr lang="en-US" dirty="0"/>
          </a:p>
        </p:txBody>
      </p:sp>
      <p:sp>
        <p:nvSpPr>
          <p:cNvPr id="18" name="Rectangle: Rounded Corners 17">
            <a:extLst>
              <a:ext uri="{FF2B5EF4-FFF2-40B4-BE49-F238E27FC236}">
                <a16:creationId xmlns:a16="http://schemas.microsoft.com/office/drawing/2014/main" id="{EE027DA1-3495-2461-F53F-2DD8AB923F6B}"/>
              </a:ext>
            </a:extLst>
          </p:cNvPr>
          <p:cNvSpPr/>
          <p:nvPr/>
        </p:nvSpPr>
        <p:spPr>
          <a:xfrm>
            <a:off x="2672863" y="5659509"/>
            <a:ext cx="5904535" cy="118489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a:solidFill>
                  <a:schemeClr val="bg1"/>
                </a:solidFill>
                <a:latin typeface="Ubuntu" panose="020B0504030602030204" pitchFamily="34" charset="0"/>
              </a:rPr>
              <a:t>REFERENCE</a:t>
            </a:r>
            <a:r>
              <a:rPr lang="en-IN" sz="1400" dirty="0">
                <a:solidFill>
                  <a:schemeClr val="bg1"/>
                </a:solidFill>
                <a:latin typeface="Ubuntu" panose="020B0504030602030204" pitchFamily="34" charset="0"/>
              </a:rPr>
              <a:t> :</a:t>
            </a:r>
          </a:p>
          <a:p>
            <a:pPr marL="285750" indent="-285750">
              <a:buFont typeface="Arial" panose="020B0604020202020204" pitchFamily="34" charset="0"/>
              <a:buChar char="•"/>
            </a:pPr>
            <a:r>
              <a:rPr lang="en-US" sz="1400" dirty="0">
                <a:solidFill>
                  <a:schemeClr val="bg1"/>
                </a:solidFill>
                <a:latin typeface="Ubuntu" panose="020B0504030602030204" pitchFamily="34" charset="0"/>
                <a:hlinkClick r:id="rId5">
                  <a:extLst>
                    <a:ext uri="{A12FA001-AC4F-418D-AE19-62706E023703}">
                      <ahyp:hlinkClr xmlns:ahyp="http://schemas.microsoft.com/office/drawing/2018/hyperlinkcolor" val="tx"/>
                    </a:ext>
                  </a:extLst>
                </a:hlinkClick>
              </a:rPr>
              <a:t>https://www.datacamp.com/tutorial/how-to-use-chat-gpt-code-interpreter</a:t>
            </a:r>
            <a:endParaRPr lang="en-US" sz="1400" dirty="0">
              <a:solidFill>
                <a:schemeClr val="bg1"/>
              </a:solidFill>
              <a:latin typeface="Ubuntu" panose="020B0504030602030204" pitchFamily="34" charset="0"/>
            </a:endParaRPr>
          </a:p>
          <a:p>
            <a:pPr marL="285750" indent="-285750">
              <a:buFont typeface="Arial" panose="020B0604020202020204" pitchFamily="34" charset="0"/>
              <a:buChar char="•"/>
            </a:pPr>
            <a:r>
              <a:rPr lang="en-IN" sz="1400" dirty="0">
                <a:solidFill>
                  <a:schemeClr val="bg1"/>
                </a:solidFill>
                <a:latin typeface="Ubuntu" panose="020B0504030602030204" pitchFamily="34" charset="0"/>
              </a:rPr>
              <a:t>https://www.youtube.com/watch?v=R2GHI2IuTMA</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015286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c 13">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F261CD3-2636-494A-BB67-E6E795052474}"/>
              </a:ext>
            </a:extLst>
          </p:cNvPr>
          <p:cNvSpPr txBox="1"/>
          <p:nvPr/>
        </p:nvSpPr>
        <p:spPr>
          <a:xfrm>
            <a:off x="236751" y="111245"/>
            <a:ext cx="8865207" cy="830317"/>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2b) Data Insights on a more complex dataset</a:t>
            </a:r>
          </a:p>
        </p:txBody>
      </p:sp>
      <p:sp>
        <p:nvSpPr>
          <p:cNvPr id="16" name="Freeform: Shape 15">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EE027DA1-3495-2461-F53F-2DD8AB923F6B}"/>
              </a:ext>
            </a:extLst>
          </p:cNvPr>
          <p:cNvSpPr/>
          <p:nvPr/>
        </p:nvSpPr>
        <p:spPr>
          <a:xfrm>
            <a:off x="2672863" y="5659509"/>
            <a:ext cx="5904535" cy="1184893"/>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REFERENCE</a:t>
            </a:r>
            <a:r>
              <a:rPr kumimoji="0" lang="en-IN" sz="14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hlinkClick r:id="rId2">
                  <a:extLst>
                    <a:ext uri="{A12FA001-AC4F-418D-AE19-62706E023703}">
                      <ahyp:hlinkClr xmlns:ahyp="http://schemas.microsoft.com/office/drawing/2018/hyperlinkcolor" val="tx"/>
                    </a:ext>
                  </a:extLst>
                </a:hlinkClick>
              </a:rPr>
              <a:t>https://www.datacamp.com/tutorial/how-to-use-chat-gpt-code-interpreter</a:t>
            </a:r>
            <a:endParaRPr kumimoji="0" lang="en-US" sz="14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https://www.youtube.com/watch?v=R2GHI2IuT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F8C3D37F-A53F-B7EC-75EA-6A94967F09C1}"/>
              </a:ext>
            </a:extLst>
          </p:cNvPr>
          <p:cNvPicPr>
            <a:picLocks noChangeAspect="1"/>
          </p:cNvPicPr>
          <p:nvPr/>
        </p:nvPicPr>
        <p:blipFill>
          <a:blip r:embed="rId3"/>
          <a:stretch>
            <a:fillRect/>
          </a:stretch>
        </p:blipFill>
        <p:spPr>
          <a:xfrm>
            <a:off x="330396" y="1916778"/>
            <a:ext cx="5035809" cy="1187511"/>
          </a:xfrm>
          <a:prstGeom prst="rect">
            <a:avLst/>
          </a:prstGeom>
        </p:spPr>
      </p:pic>
      <p:pic>
        <p:nvPicPr>
          <p:cNvPr id="9" name="Picture 8">
            <a:extLst>
              <a:ext uri="{FF2B5EF4-FFF2-40B4-BE49-F238E27FC236}">
                <a16:creationId xmlns:a16="http://schemas.microsoft.com/office/drawing/2014/main" id="{B6721F54-046C-CB5B-4B35-6A76A35638C2}"/>
              </a:ext>
            </a:extLst>
          </p:cNvPr>
          <p:cNvPicPr>
            <a:picLocks noChangeAspect="1"/>
          </p:cNvPicPr>
          <p:nvPr/>
        </p:nvPicPr>
        <p:blipFill>
          <a:blip r:embed="rId4"/>
          <a:stretch>
            <a:fillRect/>
          </a:stretch>
        </p:blipFill>
        <p:spPr>
          <a:xfrm>
            <a:off x="330396" y="3885293"/>
            <a:ext cx="5035809" cy="1009702"/>
          </a:xfrm>
          <a:prstGeom prst="rect">
            <a:avLst/>
          </a:prstGeom>
        </p:spPr>
      </p:pic>
      <p:pic>
        <p:nvPicPr>
          <p:cNvPr id="13" name="Picture 12">
            <a:extLst>
              <a:ext uri="{FF2B5EF4-FFF2-40B4-BE49-F238E27FC236}">
                <a16:creationId xmlns:a16="http://schemas.microsoft.com/office/drawing/2014/main" id="{86AD1514-5518-85C6-631C-A94C9260123B}"/>
              </a:ext>
            </a:extLst>
          </p:cNvPr>
          <p:cNvPicPr>
            <a:picLocks noChangeAspect="1"/>
          </p:cNvPicPr>
          <p:nvPr/>
        </p:nvPicPr>
        <p:blipFill>
          <a:blip r:embed="rId5"/>
          <a:stretch>
            <a:fillRect/>
          </a:stretch>
        </p:blipFill>
        <p:spPr>
          <a:xfrm>
            <a:off x="6386548" y="1604001"/>
            <a:ext cx="5010407" cy="3968954"/>
          </a:xfrm>
          <a:prstGeom prst="rect">
            <a:avLst/>
          </a:prstGeom>
        </p:spPr>
      </p:pic>
      <p:sp>
        <p:nvSpPr>
          <p:cNvPr id="17" name="TextBox 16">
            <a:extLst>
              <a:ext uri="{FF2B5EF4-FFF2-40B4-BE49-F238E27FC236}">
                <a16:creationId xmlns:a16="http://schemas.microsoft.com/office/drawing/2014/main" id="{BBF9279D-44F6-54D8-CC09-BF20831AEC24}"/>
              </a:ext>
            </a:extLst>
          </p:cNvPr>
          <p:cNvSpPr txBox="1"/>
          <p:nvPr/>
        </p:nvSpPr>
        <p:spPr>
          <a:xfrm>
            <a:off x="330395" y="1341610"/>
            <a:ext cx="5010407" cy="369332"/>
          </a:xfrm>
          <a:prstGeom prst="rect">
            <a:avLst/>
          </a:prstGeom>
          <a:noFill/>
        </p:spPr>
        <p:txBody>
          <a:bodyPr wrap="square" rtlCol="0">
            <a:spAutoFit/>
          </a:bodyPr>
          <a:lstStyle/>
          <a:p>
            <a:pPr marL="285750" indent="-285750">
              <a:buFont typeface="Arial" panose="020B0604020202020204" pitchFamily="34" charset="0"/>
              <a:buChar char="•"/>
            </a:pPr>
            <a:r>
              <a:rPr lang="en-IN" b="1" dirty="0">
                <a:solidFill>
                  <a:schemeClr val="bg1"/>
                </a:solidFill>
              </a:rPr>
              <a:t>Upload the dataset </a:t>
            </a:r>
            <a:endParaRPr lang="en-US" b="1" dirty="0">
              <a:solidFill>
                <a:schemeClr val="bg1"/>
              </a:solidFill>
            </a:endParaRPr>
          </a:p>
        </p:txBody>
      </p:sp>
      <p:sp>
        <p:nvSpPr>
          <p:cNvPr id="19" name="TextBox 18">
            <a:extLst>
              <a:ext uri="{FF2B5EF4-FFF2-40B4-BE49-F238E27FC236}">
                <a16:creationId xmlns:a16="http://schemas.microsoft.com/office/drawing/2014/main" id="{7FE37E4B-A216-A003-B0FC-6B5D968E8EB9}"/>
              </a:ext>
            </a:extLst>
          </p:cNvPr>
          <p:cNvSpPr txBox="1"/>
          <p:nvPr/>
        </p:nvSpPr>
        <p:spPr>
          <a:xfrm>
            <a:off x="330395" y="3414005"/>
            <a:ext cx="5010407" cy="369332"/>
          </a:xfrm>
          <a:prstGeom prst="rect">
            <a:avLst/>
          </a:prstGeom>
          <a:noFill/>
        </p:spPr>
        <p:txBody>
          <a:bodyPr wrap="square" rtlCol="0">
            <a:spAutoFit/>
          </a:bodyPr>
          <a:lstStyle/>
          <a:p>
            <a:pPr marL="285750" indent="-285750">
              <a:buFont typeface="Arial" panose="020B0604020202020204" pitchFamily="34" charset="0"/>
              <a:buChar char="•"/>
            </a:pPr>
            <a:r>
              <a:rPr lang="en-IN" b="1" dirty="0">
                <a:solidFill>
                  <a:schemeClr val="bg1"/>
                </a:solidFill>
              </a:rPr>
              <a:t>Input prompt</a:t>
            </a:r>
            <a:endParaRPr lang="en-US" b="1" dirty="0">
              <a:solidFill>
                <a:schemeClr val="bg1"/>
              </a:solidFill>
            </a:endParaRPr>
          </a:p>
        </p:txBody>
      </p:sp>
      <p:sp>
        <p:nvSpPr>
          <p:cNvPr id="20" name="TextBox 19">
            <a:extLst>
              <a:ext uri="{FF2B5EF4-FFF2-40B4-BE49-F238E27FC236}">
                <a16:creationId xmlns:a16="http://schemas.microsoft.com/office/drawing/2014/main" id="{27AFE581-BA42-04BB-789B-0D3A957A9D04}"/>
              </a:ext>
            </a:extLst>
          </p:cNvPr>
          <p:cNvSpPr txBox="1"/>
          <p:nvPr/>
        </p:nvSpPr>
        <p:spPr>
          <a:xfrm>
            <a:off x="6386547" y="1139377"/>
            <a:ext cx="5010407" cy="369332"/>
          </a:xfrm>
          <a:prstGeom prst="rect">
            <a:avLst/>
          </a:prstGeom>
          <a:noFill/>
        </p:spPr>
        <p:txBody>
          <a:bodyPr wrap="square" rtlCol="0">
            <a:spAutoFit/>
          </a:bodyPr>
          <a:lstStyle/>
          <a:p>
            <a:pPr marL="285750" indent="-285750">
              <a:buFont typeface="Arial" panose="020B0604020202020204" pitchFamily="34" charset="0"/>
              <a:buChar char="•"/>
            </a:pPr>
            <a:r>
              <a:rPr lang="en-IN" b="1" dirty="0">
                <a:solidFill>
                  <a:schemeClr val="bg1"/>
                </a:solidFill>
              </a:rPr>
              <a:t>OUTPUT : EXPLORING THE DATASET</a:t>
            </a:r>
            <a:endParaRPr lang="en-US" b="1" dirty="0">
              <a:solidFill>
                <a:schemeClr val="bg1"/>
              </a:solidFill>
            </a:endParaRPr>
          </a:p>
        </p:txBody>
      </p:sp>
    </p:spTree>
    <p:extLst>
      <p:ext uri="{BB962C8B-B14F-4D97-AF65-F5344CB8AC3E}">
        <p14:creationId xmlns:p14="http://schemas.microsoft.com/office/powerpoint/2010/main" val="3582446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205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docProps/app.xml><?xml version="1.0" encoding="utf-8"?>
<Properties xmlns="http://schemas.openxmlformats.org/officeDocument/2006/extended-properties" xmlns:vt="http://schemas.openxmlformats.org/officeDocument/2006/docPropsVTypes">
  <TotalTime>181</TotalTime>
  <Words>392</Words>
  <Application>Microsoft Office PowerPoint</Application>
  <PresentationFormat>Widescreen</PresentationFormat>
  <Paragraphs>46</Paragraphs>
  <Slides>6</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7" baseType="lpstr">
      <vt:lpstr>Arial</vt:lpstr>
      <vt:lpstr>Calibri</vt:lpstr>
      <vt:lpstr>Calibri Light</vt:lpstr>
      <vt:lpstr>Ubuntu</vt:lpstr>
      <vt:lpstr>Ubuntu Light</vt:lpstr>
      <vt:lpstr>Ubuntu Medium</vt:lpstr>
      <vt:lpstr>Wingdings</vt:lpstr>
      <vt:lpstr>Office Theme</vt:lpstr>
      <vt:lpstr>1_Office Theme</vt:lpstr>
      <vt:lpstr>1_Capgemini Master 2021</vt:lpstr>
      <vt:lpstr>think-cell Slide</vt:lpstr>
      <vt:lpstr>GEN AI USE CASE</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 AI USE CASE</dc:title>
  <dc:creator>Satish, Nitin</dc:creator>
  <cp:lastModifiedBy>Satish, Nitin</cp:lastModifiedBy>
  <cp:revision>1</cp:revision>
  <dcterms:created xsi:type="dcterms:W3CDTF">2023-09-19T06:12:17Z</dcterms:created>
  <dcterms:modified xsi:type="dcterms:W3CDTF">2023-09-19T09:13:58Z</dcterms:modified>
</cp:coreProperties>
</file>